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9" r:id="rId2"/>
    <p:sldId id="278" r:id="rId3"/>
    <p:sldId id="260" r:id="rId4"/>
    <p:sldId id="274" r:id="rId5"/>
    <p:sldId id="390" r:id="rId6"/>
    <p:sldId id="391" r:id="rId7"/>
    <p:sldId id="396" r:id="rId8"/>
    <p:sldId id="393" r:id="rId9"/>
    <p:sldId id="394" r:id="rId10"/>
    <p:sldId id="395" r:id="rId11"/>
    <p:sldId id="398" r:id="rId12"/>
    <p:sldId id="400" r:id="rId13"/>
    <p:sldId id="261" r:id="rId14"/>
    <p:sldId id="263" r:id="rId15"/>
    <p:sldId id="264" r:id="rId16"/>
  </p:sldIdLst>
  <p:sldSz cx="12192000" cy="6858000"/>
  <p:notesSz cx="6858000" cy="9144000"/>
  <p:custDataLst>
    <p:tags r:id="rId18"/>
  </p:custDataLst>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94A823-83A5-4C0F-8DF3-352ABA6A506B}">
          <p14:sldIdLst>
            <p14:sldId id="259"/>
            <p14:sldId id="278"/>
            <p14:sldId id="260"/>
            <p14:sldId id="274"/>
            <p14:sldId id="390"/>
            <p14:sldId id="391"/>
            <p14:sldId id="396"/>
            <p14:sldId id="393"/>
            <p14:sldId id="394"/>
            <p14:sldId id="395"/>
            <p14:sldId id="398"/>
            <p14:sldId id="400"/>
            <p14:sldId id="261"/>
            <p14:sldId id="263"/>
            <p14:sldId id="26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90" autoAdjust="0"/>
    <p:restoredTop sz="92471" autoAdjust="0"/>
  </p:normalViewPr>
  <p:slideViewPr>
    <p:cSldViewPr snapToGrid="0">
      <p:cViewPr varScale="1">
        <p:scale>
          <a:sx n="86" d="100"/>
          <a:sy n="86" d="100"/>
        </p:scale>
        <p:origin x="662" y="58"/>
      </p:cViewPr>
      <p:guideLst/>
    </p:cSldViewPr>
  </p:slideViewPr>
  <p:notesTextViewPr>
    <p:cViewPr>
      <p:scale>
        <a:sx n="1" d="1"/>
        <a:sy n="1" d="1"/>
      </p:scale>
      <p:origin x="0" y="0"/>
    </p:cViewPr>
  </p:notesTextViewPr>
  <p:sorterViewPr>
    <p:cViewPr>
      <p:scale>
        <a:sx n="100" d="100"/>
        <a:sy n="100" d="100"/>
      </p:scale>
      <p:origin x="0" y="-207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3DE3E4-342F-42E6-A0A2-1DE14002BBA6}" type="datetimeFigureOut">
              <a:rPr lang="id-ID" smtClean="0"/>
              <a:t>21/09/2020</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437638-4513-4326-A1FC-BC5AC0503A15}" type="slidenum">
              <a:rPr lang="id-ID" smtClean="0"/>
              <a:t>‹#›</a:t>
            </a:fld>
            <a:endParaRPr lang="id-ID"/>
          </a:p>
        </p:txBody>
      </p:sp>
    </p:spTree>
    <p:extLst>
      <p:ext uri="{BB962C8B-B14F-4D97-AF65-F5344CB8AC3E}">
        <p14:creationId xmlns:p14="http://schemas.microsoft.com/office/powerpoint/2010/main" val="30244269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4</a:t>
            </a:fld>
            <a:endParaRPr lang="id-ID"/>
          </a:p>
        </p:txBody>
      </p:sp>
    </p:spTree>
    <p:extLst>
      <p:ext uri="{BB962C8B-B14F-4D97-AF65-F5344CB8AC3E}">
        <p14:creationId xmlns:p14="http://schemas.microsoft.com/office/powerpoint/2010/main" val="434558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5</a:t>
            </a:fld>
            <a:endParaRPr lang="id-ID"/>
          </a:p>
        </p:txBody>
      </p:sp>
    </p:spTree>
    <p:extLst>
      <p:ext uri="{BB962C8B-B14F-4D97-AF65-F5344CB8AC3E}">
        <p14:creationId xmlns:p14="http://schemas.microsoft.com/office/powerpoint/2010/main" val="1759283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6</a:t>
            </a:fld>
            <a:endParaRPr lang="id-ID"/>
          </a:p>
        </p:txBody>
      </p:sp>
    </p:spTree>
    <p:extLst>
      <p:ext uri="{BB962C8B-B14F-4D97-AF65-F5344CB8AC3E}">
        <p14:creationId xmlns:p14="http://schemas.microsoft.com/office/powerpoint/2010/main" val="4143782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7</a:t>
            </a:fld>
            <a:endParaRPr lang="id-ID"/>
          </a:p>
        </p:txBody>
      </p:sp>
    </p:spTree>
    <p:extLst>
      <p:ext uri="{BB962C8B-B14F-4D97-AF65-F5344CB8AC3E}">
        <p14:creationId xmlns:p14="http://schemas.microsoft.com/office/powerpoint/2010/main" val="959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8</a:t>
            </a:fld>
            <a:endParaRPr lang="id-ID"/>
          </a:p>
        </p:txBody>
      </p:sp>
    </p:spTree>
    <p:extLst>
      <p:ext uri="{BB962C8B-B14F-4D97-AF65-F5344CB8AC3E}">
        <p14:creationId xmlns:p14="http://schemas.microsoft.com/office/powerpoint/2010/main" val="490767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9</a:t>
            </a:fld>
            <a:endParaRPr lang="id-ID"/>
          </a:p>
        </p:txBody>
      </p:sp>
    </p:spTree>
    <p:extLst>
      <p:ext uri="{BB962C8B-B14F-4D97-AF65-F5344CB8AC3E}">
        <p14:creationId xmlns:p14="http://schemas.microsoft.com/office/powerpoint/2010/main" val="2946865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10</a:t>
            </a:fld>
            <a:endParaRPr lang="id-ID"/>
          </a:p>
        </p:txBody>
      </p:sp>
    </p:spTree>
    <p:extLst>
      <p:ext uri="{BB962C8B-B14F-4D97-AF65-F5344CB8AC3E}">
        <p14:creationId xmlns:p14="http://schemas.microsoft.com/office/powerpoint/2010/main" val="1451037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11</a:t>
            </a:fld>
            <a:endParaRPr lang="id-ID"/>
          </a:p>
        </p:txBody>
      </p:sp>
    </p:spTree>
    <p:extLst>
      <p:ext uri="{BB962C8B-B14F-4D97-AF65-F5344CB8AC3E}">
        <p14:creationId xmlns:p14="http://schemas.microsoft.com/office/powerpoint/2010/main" val="879590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B6437638-4513-4326-A1FC-BC5AC0503A15}" type="slidenum">
              <a:rPr lang="id-ID" smtClean="0"/>
              <a:t>12</a:t>
            </a:fld>
            <a:endParaRPr lang="id-ID"/>
          </a:p>
        </p:txBody>
      </p:sp>
    </p:spTree>
    <p:extLst>
      <p:ext uri="{BB962C8B-B14F-4D97-AF65-F5344CB8AC3E}">
        <p14:creationId xmlns:p14="http://schemas.microsoft.com/office/powerpoint/2010/main" val="4194044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973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A64212B-0FC5-4F2F-980B-E2C0359A5273}"/>
              </a:ext>
            </a:extLst>
          </p:cNvPr>
          <p:cNvSpPr>
            <a:spLocks noGrp="1"/>
          </p:cNvSpPr>
          <p:nvPr>
            <p:ph type="pic" sz="quarter" idx="10"/>
          </p:nvPr>
        </p:nvSpPr>
        <p:spPr>
          <a:xfrm>
            <a:off x="3468077" y="1772592"/>
            <a:ext cx="7920648" cy="2917942"/>
          </a:xfrm>
          <a:custGeom>
            <a:avLst/>
            <a:gdLst>
              <a:gd name="connsiteX0" fmla="*/ 2917943 w 7920648"/>
              <a:gd name="connsiteY0" fmla="*/ 0 h 2917942"/>
              <a:gd name="connsiteX1" fmla="*/ 7920648 w 7920648"/>
              <a:gd name="connsiteY1" fmla="*/ 0 h 2917942"/>
              <a:gd name="connsiteX2" fmla="*/ 5002705 w 7920648"/>
              <a:gd name="connsiteY2" fmla="*/ 2917942 h 2917942"/>
              <a:gd name="connsiteX3" fmla="*/ 0 w 7920648"/>
              <a:gd name="connsiteY3" fmla="*/ 2917942 h 2917942"/>
            </a:gdLst>
            <a:ahLst/>
            <a:cxnLst>
              <a:cxn ang="0">
                <a:pos x="connsiteX0" y="connsiteY0"/>
              </a:cxn>
              <a:cxn ang="0">
                <a:pos x="connsiteX1" y="connsiteY1"/>
              </a:cxn>
              <a:cxn ang="0">
                <a:pos x="connsiteX2" y="connsiteY2"/>
              </a:cxn>
              <a:cxn ang="0">
                <a:pos x="connsiteX3" y="connsiteY3"/>
              </a:cxn>
            </a:cxnLst>
            <a:rect l="l" t="t" r="r" b="b"/>
            <a:pathLst>
              <a:path w="7920648" h="2917942">
                <a:moveTo>
                  <a:pt x="2917943" y="0"/>
                </a:moveTo>
                <a:lnTo>
                  <a:pt x="7920648" y="0"/>
                </a:lnTo>
                <a:lnTo>
                  <a:pt x="5002705" y="2917942"/>
                </a:lnTo>
                <a:lnTo>
                  <a:pt x="0" y="2917942"/>
                </a:lnTo>
                <a:close/>
              </a:path>
            </a:pathLst>
          </a:custGeom>
        </p:spPr>
        <p:txBody>
          <a:bodyPr wrap="square" anchor="ctr">
            <a:noAutofit/>
          </a:bodyPr>
          <a:lstStyle>
            <a:lvl1pPr marL="0" indent="0">
              <a:buNone/>
              <a:defRPr>
                <a:solidFill>
                  <a:schemeClr val="bg1">
                    <a:lumMod val="75000"/>
                  </a:schemeClr>
                </a:solidFill>
              </a:defRPr>
            </a:lvl1pPr>
          </a:lstStyle>
          <a:p>
            <a:endParaRPr lang="id-ID"/>
          </a:p>
        </p:txBody>
      </p:sp>
      <p:sp>
        <p:nvSpPr>
          <p:cNvPr id="9" name="Picture Placeholder 8">
            <a:extLst>
              <a:ext uri="{FF2B5EF4-FFF2-40B4-BE49-F238E27FC236}">
                <a16:creationId xmlns:a16="http://schemas.microsoft.com/office/drawing/2014/main" id="{A3F974E6-FF24-431A-8337-881687DCDB94}"/>
              </a:ext>
            </a:extLst>
          </p:cNvPr>
          <p:cNvSpPr>
            <a:spLocks noGrp="1"/>
          </p:cNvSpPr>
          <p:nvPr>
            <p:ph type="pic" sz="quarter" idx="11"/>
          </p:nvPr>
        </p:nvSpPr>
        <p:spPr>
          <a:xfrm>
            <a:off x="5588856" y="3507441"/>
            <a:ext cx="5570849" cy="2052283"/>
          </a:xfrm>
          <a:custGeom>
            <a:avLst/>
            <a:gdLst>
              <a:gd name="connsiteX0" fmla="*/ 2052284 w 5570849"/>
              <a:gd name="connsiteY0" fmla="*/ 0 h 2052283"/>
              <a:gd name="connsiteX1" fmla="*/ 5570849 w 5570849"/>
              <a:gd name="connsiteY1" fmla="*/ 0 h 2052283"/>
              <a:gd name="connsiteX2" fmla="*/ 3518565 w 5570849"/>
              <a:gd name="connsiteY2" fmla="*/ 2052283 h 2052283"/>
              <a:gd name="connsiteX3" fmla="*/ 0 w 5570849"/>
              <a:gd name="connsiteY3" fmla="*/ 2052283 h 2052283"/>
            </a:gdLst>
            <a:ahLst/>
            <a:cxnLst>
              <a:cxn ang="0">
                <a:pos x="connsiteX0" y="connsiteY0"/>
              </a:cxn>
              <a:cxn ang="0">
                <a:pos x="connsiteX1" y="connsiteY1"/>
              </a:cxn>
              <a:cxn ang="0">
                <a:pos x="connsiteX2" y="connsiteY2"/>
              </a:cxn>
              <a:cxn ang="0">
                <a:pos x="connsiteX3" y="connsiteY3"/>
              </a:cxn>
            </a:cxnLst>
            <a:rect l="l" t="t" r="r" b="b"/>
            <a:pathLst>
              <a:path w="5570849" h="2052283">
                <a:moveTo>
                  <a:pt x="2052284" y="0"/>
                </a:moveTo>
                <a:lnTo>
                  <a:pt x="5570849" y="0"/>
                </a:lnTo>
                <a:lnTo>
                  <a:pt x="3518565" y="2052283"/>
                </a:lnTo>
                <a:lnTo>
                  <a:pt x="0" y="2052283"/>
                </a:lnTo>
                <a:close/>
              </a:path>
            </a:pathLst>
          </a:custGeom>
          <a:ln w="82550">
            <a:solidFill>
              <a:schemeClr val="bg1"/>
            </a:solidFill>
          </a:ln>
        </p:spPr>
        <p:txBody>
          <a:bodyPr wrap="square" anchor="ctr">
            <a:noAutofit/>
          </a:bodyPr>
          <a:lstStyle>
            <a:lvl1pPr marL="0" indent="0">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2175744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nodePh="1">
                                  <p:stCondLst>
                                    <p:cond delay="50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F326C65-C628-4D59-9A97-62E3B4BF751F}"/>
              </a:ext>
            </a:extLst>
          </p:cNvPr>
          <p:cNvSpPr>
            <a:spLocks noGrp="1"/>
          </p:cNvSpPr>
          <p:nvPr>
            <p:ph type="title"/>
          </p:nvPr>
        </p:nvSpPr>
        <p:spPr>
          <a:xfrm>
            <a:off x="803729" y="568326"/>
            <a:ext cx="10584543" cy="492124"/>
          </a:xfrm>
          <a:prstGeom prst="rect">
            <a:avLst/>
          </a:prstGeom>
        </p:spPr>
        <p:txBody>
          <a:bodyPr anchor="ctr"/>
          <a:lstStyle>
            <a:lvl1pPr algn="l">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11" name="Group 10">
            <a:extLst>
              <a:ext uri="{FF2B5EF4-FFF2-40B4-BE49-F238E27FC236}">
                <a16:creationId xmlns:a16="http://schemas.microsoft.com/office/drawing/2014/main" id="{C74D14FD-EFE6-415D-9C69-5244DF7B8691}"/>
              </a:ext>
            </a:extLst>
          </p:cNvPr>
          <p:cNvGrpSpPr/>
          <p:nvPr userDrawn="1"/>
        </p:nvGrpSpPr>
        <p:grpSpPr>
          <a:xfrm>
            <a:off x="887636" y="1351915"/>
            <a:ext cx="934314" cy="45719"/>
            <a:chOff x="887636" y="1148715"/>
            <a:chExt cx="934314" cy="45719"/>
          </a:xfrm>
        </p:grpSpPr>
        <p:sp>
          <p:nvSpPr>
            <p:cNvPr id="14" name="Freeform: Shape 13">
              <a:extLst>
                <a:ext uri="{FF2B5EF4-FFF2-40B4-BE49-F238E27FC236}">
                  <a16:creationId xmlns:a16="http://schemas.microsoft.com/office/drawing/2014/main" id="{13CB6D14-9E51-49F5-A16C-0C58372CF3A5}"/>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5" name="Freeform: Shape 14">
              <a:extLst>
                <a:ext uri="{FF2B5EF4-FFF2-40B4-BE49-F238E27FC236}">
                  <a16:creationId xmlns:a16="http://schemas.microsoft.com/office/drawing/2014/main" id="{7275EB5F-E455-4B6F-AB68-B71C85AC105E}"/>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6" name="Freeform: Shape 15">
              <a:extLst>
                <a:ext uri="{FF2B5EF4-FFF2-40B4-BE49-F238E27FC236}">
                  <a16:creationId xmlns:a16="http://schemas.microsoft.com/office/drawing/2014/main" id="{E13A8268-A73C-43B0-AB25-D9549D1F7C30}"/>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17" name="Content Placeholder 11">
            <a:extLst>
              <a:ext uri="{FF2B5EF4-FFF2-40B4-BE49-F238E27FC236}">
                <a16:creationId xmlns:a16="http://schemas.microsoft.com/office/drawing/2014/main" id="{6FE4CFA2-87BF-49A4-B076-487065212D79}"/>
              </a:ext>
            </a:extLst>
          </p:cNvPr>
          <p:cNvSpPr>
            <a:spLocks noGrp="1"/>
          </p:cNvSpPr>
          <p:nvPr>
            <p:ph sz="quarter" idx="11"/>
          </p:nvPr>
        </p:nvSpPr>
        <p:spPr>
          <a:xfrm>
            <a:off x="803729" y="1042673"/>
            <a:ext cx="10584542" cy="327019"/>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292682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200" fill="hold"/>
                                        <p:tgtEl>
                                          <p:spTgt spid="17"/>
                                        </p:tgtEl>
                                        <p:attrNameLst>
                                          <p:attrName>ppt_x</p:attrName>
                                        </p:attrNameLst>
                                      </p:cBhvr>
                                      <p:tavLst>
                                        <p:tav tm="0">
                                          <p:val>
                                            <p:strVal val="0-#ppt_w/2"/>
                                          </p:val>
                                        </p:tav>
                                        <p:tav tm="100000">
                                          <p:val>
                                            <p:strVal val="#ppt_x"/>
                                          </p:val>
                                        </p:tav>
                                      </p:tavLst>
                                    </p:anim>
                                    <p:anim calcmode="lin" valueType="num">
                                      <p:cBhvr additive="base">
                                        <p:cTn id="12" dur="1200" fill="hold"/>
                                        <p:tgtEl>
                                          <p:spTgt spid="17"/>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p:tmplLst>
          <p:tmpl>
            <p:tnLst>
              <p:par>
                <p:cTn presetID="2" presetClass="entr" presetSubtype="8" decel="10000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1200" fill="hold"/>
                        <p:tgtEl>
                          <p:spTgt spid="17"/>
                        </p:tgtEl>
                        <p:attrNameLst>
                          <p:attrName>ppt_x</p:attrName>
                        </p:attrNameLst>
                      </p:cBhvr>
                      <p:tavLst>
                        <p:tav tm="0">
                          <p:val>
                            <p:strVal val="0-#ppt_w/2"/>
                          </p:val>
                        </p:tav>
                        <p:tav tm="100000">
                          <p:val>
                            <p:strVal val="#ppt_x"/>
                          </p:val>
                        </p:tav>
                      </p:tavLst>
                    </p:anim>
                    <p:anim calcmode="lin" valueType="num">
                      <p:cBhvr additive="base">
                        <p:cTn dur="1200" fill="hold"/>
                        <p:tgtEl>
                          <p:spTgt spid="17"/>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0CCF078B-AEAC-41C2-B2C7-C7E78CE9EA75}"/>
              </a:ext>
            </a:extLst>
          </p:cNvPr>
          <p:cNvSpPr>
            <a:spLocks noGrp="1"/>
          </p:cNvSpPr>
          <p:nvPr>
            <p:ph type="pic" sz="quarter" idx="11"/>
          </p:nvPr>
        </p:nvSpPr>
        <p:spPr>
          <a:xfrm>
            <a:off x="5149038" y="1987711"/>
            <a:ext cx="4301963" cy="2150982"/>
          </a:xfrm>
          <a:custGeom>
            <a:avLst/>
            <a:gdLst>
              <a:gd name="connsiteX0" fmla="*/ 2150982 w 4301963"/>
              <a:gd name="connsiteY0" fmla="*/ 0 h 2150982"/>
              <a:gd name="connsiteX1" fmla="*/ 4301963 w 4301963"/>
              <a:gd name="connsiteY1" fmla="*/ 2150982 h 2150982"/>
              <a:gd name="connsiteX2" fmla="*/ 0 w 4301963"/>
              <a:gd name="connsiteY2" fmla="*/ 2150982 h 2150982"/>
            </a:gdLst>
            <a:ahLst/>
            <a:cxnLst>
              <a:cxn ang="0">
                <a:pos x="connsiteX0" y="connsiteY0"/>
              </a:cxn>
              <a:cxn ang="0">
                <a:pos x="connsiteX1" y="connsiteY1"/>
              </a:cxn>
              <a:cxn ang="0">
                <a:pos x="connsiteX2" y="connsiteY2"/>
              </a:cxn>
            </a:cxnLst>
            <a:rect l="l" t="t" r="r" b="b"/>
            <a:pathLst>
              <a:path w="4301963" h="2150982">
                <a:moveTo>
                  <a:pt x="2150982" y="0"/>
                </a:moveTo>
                <a:lnTo>
                  <a:pt x="4301963" y="2150982"/>
                </a:lnTo>
                <a:lnTo>
                  <a:pt x="0" y="2150982"/>
                </a:lnTo>
                <a:close/>
              </a:path>
            </a:pathLst>
          </a:custGeom>
        </p:spPr>
        <p:txBody>
          <a:bodyPr wrap="square" anchor="ctr">
            <a:noAutofit/>
          </a:bodyPr>
          <a:lstStyle>
            <a:lvl1pPr marL="0" indent="0" algn="ctr">
              <a:buNone/>
              <a:defRPr>
                <a:solidFill>
                  <a:schemeClr val="bg1">
                    <a:lumMod val="50000"/>
                  </a:schemeClr>
                </a:solidFill>
              </a:defRPr>
            </a:lvl1pPr>
          </a:lstStyle>
          <a:p>
            <a:endParaRPr lang="id-ID"/>
          </a:p>
        </p:txBody>
      </p:sp>
      <p:sp>
        <p:nvSpPr>
          <p:cNvPr id="19" name="Picture Placeholder 18">
            <a:extLst>
              <a:ext uri="{FF2B5EF4-FFF2-40B4-BE49-F238E27FC236}">
                <a16:creationId xmlns:a16="http://schemas.microsoft.com/office/drawing/2014/main" id="{B07CFE40-5248-40C8-82BE-FD1525667C27}"/>
              </a:ext>
            </a:extLst>
          </p:cNvPr>
          <p:cNvSpPr>
            <a:spLocks noGrp="1"/>
          </p:cNvSpPr>
          <p:nvPr>
            <p:ph type="pic" sz="quarter" idx="13"/>
          </p:nvPr>
        </p:nvSpPr>
        <p:spPr>
          <a:xfrm>
            <a:off x="8426567" y="2517361"/>
            <a:ext cx="2861187" cy="2861187"/>
          </a:xfrm>
          <a:custGeom>
            <a:avLst/>
            <a:gdLst>
              <a:gd name="connsiteX0" fmla="*/ 2861187 w 2861187"/>
              <a:gd name="connsiteY0" fmla="*/ 0 h 2861187"/>
              <a:gd name="connsiteX1" fmla="*/ 2861187 w 2861187"/>
              <a:gd name="connsiteY1" fmla="*/ 2861187 h 2861187"/>
              <a:gd name="connsiteX2" fmla="*/ 0 w 2861187"/>
              <a:gd name="connsiteY2" fmla="*/ 2861187 h 2861187"/>
            </a:gdLst>
            <a:ahLst/>
            <a:cxnLst>
              <a:cxn ang="0">
                <a:pos x="connsiteX0" y="connsiteY0"/>
              </a:cxn>
              <a:cxn ang="0">
                <a:pos x="connsiteX1" y="connsiteY1"/>
              </a:cxn>
              <a:cxn ang="0">
                <a:pos x="connsiteX2" y="connsiteY2"/>
              </a:cxn>
            </a:cxnLst>
            <a:rect l="l" t="t" r="r" b="b"/>
            <a:pathLst>
              <a:path w="2861187" h="2861187">
                <a:moveTo>
                  <a:pt x="2861187" y="0"/>
                </a:moveTo>
                <a:lnTo>
                  <a:pt x="2861187" y="2861187"/>
                </a:lnTo>
                <a:lnTo>
                  <a:pt x="0" y="2861187"/>
                </a:lnTo>
                <a:close/>
              </a:path>
            </a:pathLst>
          </a:custGeom>
        </p:spPr>
        <p:txBody>
          <a:bodyPr wrap="square" anchor="ctr">
            <a:noAutofit/>
          </a:bodyPr>
          <a:lstStyle>
            <a:lvl1pPr marL="0" indent="0" algn="r">
              <a:buNone/>
              <a:defRPr>
                <a:solidFill>
                  <a:schemeClr val="bg1">
                    <a:lumMod val="50000"/>
                  </a:schemeClr>
                </a:solidFill>
              </a:defRPr>
            </a:lvl1pPr>
          </a:lstStyle>
          <a:p>
            <a:endParaRPr lang="id-ID"/>
          </a:p>
        </p:txBody>
      </p:sp>
      <p:sp>
        <p:nvSpPr>
          <p:cNvPr id="21" name="Freeform: Shape 20">
            <a:extLst>
              <a:ext uri="{FF2B5EF4-FFF2-40B4-BE49-F238E27FC236}">
                <a16:creationId xmlns:a16="http://schemas.microsoft.com/office/drawing/2014/main" id="{695CB9BF-8FCF-4ED4-AD22-AFCCA1F2BC39}"/>
              </a:ext>
            </a:extLst>
          </p:cNvPr>
          <p:cNvSpPr/>
          <p:nvPr userDrawn="1"/>
        </p:nvSpPr>
        <p:spPr>
          <a:xfrm>
            <a:off x="7300017" y="4251999"/>
            <a:ext cx="2292846" cy="2292846"/>
          </a:xfrm>
          <a:custGeom>
            <a:avLst/>
            <a:gdLst>
              <a:gd name="connsiteX0" fmla="*/ 0 w 1126548"/>
              <a:gd name="connsiteY0" fmla="*/ 0 h 1126548"/>
              <a:gd name="connsiteX1" fmla="*/ 1126548 w 1126548"/>
              <a:gd name="connsiteY1" fmla="*/ 0 h 1126548"/>
              <a:gd name="connsiteX2" fmla="*/ 1126548 w 1126548"/>
              <a:gd name="connsiteY2" fmla="*/ 1126548 h 1126548"/>
            </a:gdLst>
            <a:ahLst/>
            <a:cxnLst>
              <a:cxn ang="0">
                <a:pos x="connsiteX0" y="connsiteY0"/>
              </a:cxn>
              <a:cxn ang="0">
                <a:pos x="connsiteX1" y="connsiteY1"/>
              </a:cxn>
              <a:cxn ang="0">
                <a:pos x="connsiteX2" y="connsiteY2"/>
              </a:cxn>
            </a:cxnLst>
            <a:rect l="l" t="t" r="r" b="b"/>
            <a:pathLst>
              <a:path w="1126548" h="1126548">
                <a:moveTo>
                  <a:pt x="0" y="0"/>
                </a:moveTo>
                <a:lnTo>
                  <a:pt x="1126548" y="0"/>
                </a:lnTo>
                <a:lnTo>
                  <a:pt x="1126548" y="11265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Diamond 21">
            <a:extLst>
              <a:ext uri="{FF2B5EF4-FFF2-40B4-BE49-F238E27FC236}">
                <a16:creationId xmlns:a16="http://schemas.microsoft.com/office/drawing/2014/main" id="{9680E04C-9BA8-4849-A06D-565C44C8572B}"/>
              </a:ext>
            </a:extLst>
          </p:cNvPr>
          <p:cNvSpPr/>
          <p:nvPr userDrawn="1"/>
        </p:nvSpPr>
        <p:spPr>
          <a:xfrm>
            <a:off x="7750729" y="448779"/>
            <a:ext cx="3637996" cy="3637994"/>
          </a:xfrm>
          <a:prstGeom prst="diamond">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30" name="Picture Placeholder 29">
            <a:extLst>
              <a:ext uri="{FF2B5EF4-FFF2-40B4-BE49-F238E27FC236}">
                <a16:creationId xmlns:a16="http://schemas.microsoft.com/office/drawing/2014/main" id="{4DAD7E45-82E2-4384-9DBE-642A02427687}"/>
              </a:ext>
            </a:extLst>
          </p:cNvPr>
          <p:cNvSpPr>
            <a:spLocks noGrp="1"/>
          </p:cNvSpPr>
          <p:nvPr>
            <p:ph type="pic" sz="quarter" idx="14"/>
          </p:nvPr>
        </p:nvSpPr>
        <p:spPr>
          <a:xfrm>
            <a:off x="1052432" y="0"/>
            <a:ext cx="8027037" cy="4013519"/>
          </a:xfrm>
          <a:custGeom>
            <a:avLst/>
            <a:gdLst>
              <a:gd name="connsiteX0" fmla="*/ 8027037 w 8027037"/>
              <a:gd name="connsiteY0" fmla="*/ 0 h 4013519"/>
              <a:gd name="connsiteX1" fmla="*/ 4013518 w 8027037"/>
              <a:gd name="connsiteY1" fmla="*/ 4013519 h 4013519"/>
              <a:gd name="connsiteX2" fmla="*/ 0 w 8027037"/>
              <a:gd name="connsiteY2" fmla="*/ 0 h 4013519"/>
            </a:gdLst>
            <a:ahLst/>
            <a:cxnLst>
              <a:cxn ang="0">
                <a:pos x="connsiteX0" y="connsiteY0"/>
              </a:cxn>
              <a:cxn ang="0">
                <a:pos x="connsiteX1" y="connsiteY1"/>
              </a:cxn>
              <a:cxn ang="0">
                <a:pos x="connsiteX2" y="connsiteY2"/>
              </a:cxn>
            </a:cxnLst>
            <a:rect l="l" t="t" r="r" b="b"/>
            <a:pathLst>
              <a:path w="8027037" h="4013519">
                <a:moveTo>
                  <a:pt x="8027037" y="0"/>
                </a:moveTo>
                <a:lnTo>
                  <a:pt x="4013518" y="4013519"/>
                </a:lnTo>
                <a:lnTo>
                  <a:pt x="0" y="0"/>
                </a:lnTo>
                <a:close/>
              </a:path>
            </a:pathLst>
          </a:custGeom>
        </p:spPr>
        <p:txBody>
          <a:bodyPr wrap="square" anchor="ctr">
            <a:noAutofit/>
          </a:bodyPr>
          <a:lstStyle>
            <a:lvl1pPr marL="0" indent="0" algn="ctr">
              <a:buNone/>
              <a:defRPr>
                <a:solidFill>
                  <a:schemeClr val="bg1">
                    <a:lumMod val="50000"/>
                  </a:schemeClr>
                </a:solidFill>
              </a:defRPr>
            </a:lvl1pPr>
          </a:lstStyle>
          <a:p>
            <a:endParaRPr lang="id-ID"/>
          </a:p>
        </p:txBody>
      </p:sp>
    </p:spTree>
    <p:extLst>
      <p:ext uri="{BB962C8B-B14F-4D97-AF65-F5344CB8AC3E}">
        <p14:creationId xmlns:p14="http://schemas.microsoft.com/office/powerpoint/2010/main" val="476374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nodePh="1">
                                  <p:stCondLst>
                                    <p:cond delay="0"/>
                                  </p:stCondLst>
                                  <p:endCondLst>
                                    <p:cond evt="begin" delay="0">
                                      <p:tn val="5"/>
                                    </p:cond>
                                  </p:end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1000" fill="hold"/>
                                        <p:tgtEl>
                                          <p:spTgt spid="30"/>
                                        </p:tgtEl>
                                        <p:attrNameLst>
                                          <p:attrName>ppt_x</p:attrName>
                                        </p:attrNameLst>
                                      </p:cBhvr>
                                      <p:tavLst>
                                        <p:tav tm="0">
                                          <p:val>
                                            <p:strVal val="#ppt_x"/>
                                          </p:val>
                                        </p:tav>
                                        <p:tav tm="100000">
                                          <p:val>
                                            <p:strVal val="#ppt_x"/>
                                          </p:val>
                                        </p:tav>
                                      </p:tavLst>
                                    </p:anim>
                                    <p:anim calcmode="lin" valueType="num">
                                      <p:cBhvr additive="base">
                                        <p:cTn id="8" dur="1000" fill="hold"/>
                                        <p:tgtEl>
                                          <p:spTgt spid="30"/>
                                        </p:tgtEl>
                                        <p:attrNameLst>
                                          <p:attrName>ppt_y</p:attrName>
                                        </p:attrNameLst>
                                      </p:cBhvr>
                                      <p:tavLst>
                                        <p:tav tm="0">
                                          <p:val>
                                            <p:strVal val="0-#ppt_h/2"/>
                                          </p:val>
                                        </p:tav>
                                        <p:tav tm="100000">
                                          <p:val>
                                            <p:strVal val="#ppt_y"/>
                                          </p:val>
                                        </p:tav>
                                      </p:tavLst>
                                    </p:anim>
                                  </p:childTnLst>
                                </p:cTn>
                              </p:par>
                              <p:par>
                                <p:cTn id="9" presetID="2" presetClass="entr" presetSubtype="2" decel="100000" fill="hold" grpId="0" nodeType="withEffect" nodePh="1">
                                  <p:stCondLst>
                                    <p:cond delay="0"/>
                                  </p:stCondLst>
                                  <p:endCondLst>
                                    <p:cond evt="begin" delay="0">
                                      <p:tn val="9"/>
                                    </p:cond>
                                  </p:end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nodePh="1">
                                  <p:stCondLst>
                                    <p:cond delay="0"/>
                                  </p:stCondLst>
                                  <p:endCondLst>
                                    <p:cond evt="begin" delay="0">
                                      <p:tn val="13"/>
                                    </p:cond>
                                  </p:end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1000" fill="hold"/>
                                        <p:tgtEl>
                                          <p:spTgt spid="19"/>
                                        </p:tgtEl>
                                        <p:attrNameLst>
                                          <p:attrName>ppt_x</p:attrName>
                                        </p:attrNameLst>
                                      </p:cBhvr>
                                      <p:tavLst>
                                        <p:tav tm="0">
                                          <p:val>
                                            <p:strVal val="1+#ppt_w/2"/>
                                          </p:val>
                                        </p:tav>
                                        <p:tav tm="100000">
                                          <p:val>
                                            <p:strVal val="#ppt_x"/>
                                          </p:val>
                                        </p:tav>
                                      </p:tavLst>
                                    </p:anim>
                                    <p:anim calcmode="lin" valueType="num">
                                      <p:cBhvr additive="base">
                                        <p:cTn id="16" dur="10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1000" fill="hold"/>
                                        <p:tgtEl>
                                          <p:spTgt spid="22"/>
                                        </p:tgtEl>
                                        <p:attrNameLst>
                                          <p:attrName>ppt_x</p:attrName>
                                        </p:attrNameLst>
                                      </p:cBhvr>
                                      <p:tavLst>
                                        <p:tav tm="0">
                                          <p:val>
                                            <p:strVal val="1+#ppt_w/2"/>
                                          </p:val>
                                        </p:tav>
                                        <p:tav tm="100000">
                                          <p:val>
                                            <p:strVal val="#ppt_x"/>
                                          </p:val>
                                        </p:tav>
                                      </p:tavLst>
                                    </p:anim>
                                    <p:anim calcmode="lin" valueType="num">
                                      <p:cBhvr additive="base">
                                        <p:cTn id="20" dur="1000" fill="hold"/>
                                        <p:tgtEl>
                                          <p:spTgt spid="22"/>
                                        </p:tgtEl>
                                        <p:attrNameLst>
                                          <p:attrName>ppt_y</p:attrName>
                                        </p:attrNameLst>
                                      </p:cBhvr>
                                      <p:tavLst>
                                        <p:tav tm="0">
                                          <p:val>
                                            <p:strVal val="#ppt_y"/>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000" fill="hold"/>
                                        <p:tgtEl>
                                          <p:spTgt spid="21"/>
                                        </p:tgtEl>
                                        <p:attrNameLst>
                                          <p:attrName>ppt_x</p:attrName>
                                        </p:attrNameLst>
                                      </p:cBhvr>
                                      <p:tavLst>
                                        <p:tav tm="0">
                                          <p:val>
                                            <p:strVal val="#ppt_x"/>
                                          </p:val>
                                        </p:tav>
                                        <p:tav tm="100000">
                                          <p:val>
                                            <p:strVal val="#ppt_x"/>
                                          </p:val>
                                        </p:tav>
                                      </p:tavLst>
                                    </p:anim>
                                    <p:anim calcmode="lin" valueType="num">
                                      <p:cBhvr additive="base">
                                        <p:cTn id="24" dur="10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p:bldP spid="21" grpId="0" animBg="1"/>
      <p:bldP spid="22" grpId="0" animBg="1"/>
      <p:bldP spid="30" grpId="0"/>
    </p:bldLst>
  </p:timing>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4DAD7E45-82E2-4384-9DBE-642A02427687}"/>
              </a:ext>
            </a:extLst>
          </p:cNvPr>
          <p:cNvSpPr>
            <a:spLocks noGrp="1"/>
          </p:cNvSpPr>
          <p:nvPr>
            <p:ph type="pic" sz="quarter" idx="14"/>
          </p:nvPr>
        </p:nvSpPr>
        <p:spPr>
          <a:xfrm>
            <a:off x="4205543" y="0"/>
            <a:ext cx="8027037" cy="4013519"/>
          </a:xfrm>
          <a:custGeom>
            <a:avLst/>
            <a:gdLst>
              <a:gd name="connsiteX0" fmla="*/ 8027037 w 8027037"/>
              <a:gd name="connsiteY0" fmla="*/ 0 h 4013519"/>
              <a:gd name="connsiteX1" fmla="*/ 4013518 w 8027037"/>
              <a:gd name="connsiteY1" fmla="*/ 4013519 h 4013519"/>
              <a:gd name="connsiteX2" fmla="*/ 0 w 8027037"/>
              <a:gd name="connsiteY2" fmla="*/ 0 h 4013519"/>
            </a:gdLst>
            <a:ahLst/>
            <a:cxnLst>
              <a:cxn ang="0">
                <a:pos x="connsiteX0" y="connsiteY0"/>
              </a:cxn>
              <a:cxn ang="0">
                <a:pos x="connsiteX1" y="connsiteY1"/>
              </a:cxn>
              <a:cxn ang="0">
                <a:pos x="connsiteX2" y="connsiteY2"/>
              </a:cxn>
            </a:cxnLst>
            <a:rect l="l" t="t" r="r" b="b"/>
            <a:pathLst>
              <a:path w="8027037" h="4013519">
                <a:moveTo>
                  <a:pt x="8027037" y="0"/>
                </a:moveTo>
                <a:lnTo>
                  <a:pt x="4013518" y="4013519"/>
                </a:lnTo>
                <a:lnTo>
                  <a:pt x="0" y="0"/>
                </a:lnTo>
                <a:close/>
              </a:path>
            </a:pathLst>
          </a:custGeom>
        </p:spPr>
        <p:txBody>
          <a:bodyPr wrap="square" anchor="ctr">
            <a:noAutofit/>
          </a:bodyPr>
          <a:lstStyle>
            <a:lvl1pPr marL="0" indent="0" algn="ctr">
              <a:buNone/>
              <a:defRPr>
                <a:solidFill>
                  <a:schemeClr val="bg1">
                    <a:lumMod val="50000"/>
                  </a:schemeClr>
                </a:solidFill>
              </a:defRPr>
            </a:lvl1pPr>
          </a:lstStyle>
          <a:p>
            <a:endParaRPr lang="id-ID"/>
          </a:p>
        </p:txBody>
      </p:sp>
      <p:sp>
        <p:nvSpPr>
          <p:cNvPr id="15" name="Picture Placeholder 14">
            <a:extLst>
              <a:ext uri="{FF2B5EF4-FFF2-40B4-BE49-F238E27FC236}">
                <a16:creationId xmlns:a16="http://schemas.microsoft.com/office/drawing/2014/main" id="{0CCF078B-AEAC-41C2-B2C7-C7E78CE9EA75}"/>
              </a:ext>
            </a:extLst>
          </p:cNvPr>
          <p:cNvSpPr>
            <a:spLocks noGrp="1"/>
          </p:cNvSpPr>
          <p:nvPr>
            <p:ph type="pic" sz="quarter" idx="11"/>
          </p:nvPr>
        </p:nvSpPr>
        <p:spPr>
          <a:xfrm>
            <a:off x="8302149" y="2438399"/>
            <a:ext cx="3400585" cy="1700293"/>
          </a:xfrm>
          <a:custGeom>
            <a:avLst/>
            <a:gdLst>
              <a:gd name="connsiteX0" fmla="*/ 2150982 w 4301963"/>
              <a:gd name="connsiteY0" fmla="*/ 0 h 2150982"/>
              <a:gd name="connsiteX1" fmla="*/ 4301963 w 4301963"/>
              <a:gd name="connsiteY1" fmla="*/ 2150982 h 2150982"/>
              <a:gd name="connsiteX2" fmla="*/ 0 w 4301963"/>
              <a:gd name="connsiteY2" fmla="*/ 2150982 h 2150982"/>
            </a:gdLst>
            <a:ahLst/>
            <a:cxnLst>
              <a:cxn ang="0">
                <a:pos x="connsiteX0" y="connsiteY0"/>
              </a:cxn>
              <a:cxn ang="0">
                <a:pos x="connsiteX1" y="connsiteY1"/>
              </a:cxn>
              <a:cxn ang="0">
                <a:pos x="connsiteX2" y="connsiteY2"/>
              </a:cxn>
            </a:cxnLst>
            <a:rect l="l" t="t" r="r" b="b"/>
            <a:pathLst>
              <a:path w="4301963" h="2150982">
                <a:moveTo>
                  <a:pt x="2150982" y="0"/>
                </a:moveTo>
                <a:lnTo>
                  <a:pt x="4301963" y="2150982"/>
                </a:lnTo>
                <a:lnTo>
                  <a:pt x="0" y="2150982"/>
                </a:lnTo>
                <a:close/>
              </a:path>
            </a:pathLst>
          </a:custGeom>
        </p:spPr>
        <p:txBody>
          <a:bodyPr wrap="square" anchor="ctr">
            <a:noAutofit/>
          </a:bodyPr>
          <a:lstStyle>
            <a:lvl1pPr marL="0" indent="0" algn="ctr">
              <a:buNone/>
              <a:defRPr>
                <a:solidFill>
                  <a:schemeClr val="bg1">
                    <a:lumMod val="50000"/>
                  </a:schemeClr>
                </a:solidFill>
              </a:defRPr>
            </a:lvl1pPr>
          </a:lstStyle>
          <a:p>
            <a:endParaRPr lang="id-ID"/>
          </a:p>
        </p:txBody>
      </p:sp>
      <p:sp>
        <p:nvSpPr>
          <p:cNvPr id="21" name="Freeform: Shape 20">
            <a:extLst>
              <a:ext uri="{FF2B5EF4-FFF2-40B4-BE49-F238E27FC236}">
                <a16:creationId xmlns:a16="http://schemas.microsoft.com/office/drawing/2014/main" id="{695CB9BF-8FCF-4ED4-AD22-AFCCA1F2BC39}"/>
              </a:ext>
            </a:extLst>
          </p:cNvPr>
          <p:cNvSpPr/>
          <p:nvPr userDrawn="1"/>
        </p:nvSpPr>
        <p:spPr>
          <a:xfrm>
            <a:off x="4231047" y="2115529"/>
            <a:ext cx="1681968" cy="1681968"/>
          </a:xfrm>
          <a:custGeom>
            <a:avLst/>
            <a:gdLst>
              <a:gd name="connsiteX0" fmla="*/ 0 w 1126548"/>
              <a:gd name="connsiteY0" fmla="*/ 0 h 1126548"/>
              <a:gd name="connsiteX1" fmla="*/ 1126548 w 1126548"/>
              <a:gd name="connsiteY1" fmla="*/ 0 h 1126548"/>
              <a:gd name="connsiteX2" fmla="*/ 1126548 w 1126548"/>
              <a:gd name="connsiteY2" fmla="*/ 1126548 h 1126548"/>
            </a:gdLst>
            <a:ahLst/>
            <a:cxnLst>
              <a:cxn ang="0">
                <a:pos x="connsiteX0" y="connsiteY0"/>
              </a:cxn>
              <a:cxn ang="0">
                <a:pos x="connsiteX1" y="connsiteY1"/>
              </a:cxn>
              <a:cxn ang="0">
                <a:pos x="connsiteX2" y="connsiteY2"/>
              </a:cxn>
            </a:cxnLst>
            <a:rect l="l" t="t" r="r" b="b"/>
            <a:pathLst>
              <a:path w="1126548" h="1126548">
                <a:moveTo>
                  <a:pt x="0" y="0"/>
                </a:moveTo>
                <a:lnTo>
                  <a:pt x="1126548" y="0"/>
                </a:lnTo>
                <a:lnTo>
                  <a:pt x="1126548" y="112654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Diamond 21">
            <a:extLst>
              <a:ext uri="{FF2B5EF4-FFF2-40B4-BE49-F238E27FC236}">
                <a16:creationId xmlns:a16="http://schemas.microsoft.com/office/drawing/2014/main" id="{9680E04C-9BA8-4849-A06D-565C44C8572B}"/>
              </a:ext>
            </a:extLst>
          </p:cNvPr>
          <p:cNvSpPr/>
          <p:nvPr userDrawn="1"/>
        </p:nvSpPr>
        <p:spPr>
          <a:xfrm>
            <a:off x="5903668" y="4269613"/>
            <a:ext cx="4630786" cy="4630784"/>
          </a:xfrm>
          <a:prstGeom prst="diamond">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9" name="Picture Placeholder 8">
            <a:extLst>
              <a:ext uri="{FF2B5EF4-FFF2-40B4-BE49-F238E27FC236}">
                <a16:creationId xmlns:a16="http://schemas.microsoft.com/office/drawing/2014/main" id="{D21B6543-275D-4E54-B5DA-1101C1B05EE8}"/>
              </a:ext>
            </a:extLst>
          </p:cNvPr>
          <p:cNvSpPr>
            <a:spLocks noGrp="1"/>
          </p:cNvSpPr>
          <p:nvPr>
            <p:ph type="pic" sz="quarter" idx="15"/>
          </p:nvPr>
        </p:nvSpPr>
        <p:spPr>
          <a:xfrm>
            <a:off x="6096000" y="2115529"/>
            <a:ext cx="2023164" cy="4046329"/>
          </a:xfrm>
          <a:custGeom>
            <a:avLst/>
            <a:gdLst>
              <a:gd name="connsiteX0" fmla="*/ 0 w 2023164"/>
              <a:gd name="connsiteY0" fmla="*/ 0 h 4046329"/>
              <a:gd name="connsiteX1" fmla="*/ 2023164 w 2023164"/>
              <a:gd name="connsiteY1" fmla="*/ 2023165 h 4046329"/>
              <a:gd name="connsiteX2" fmla="*/ 0 w 2023164"/>
              <a:gd name="connsiteY2" fmla="*/ 4046329 h 4046329"/>
            </a:gdLst>
            <a:ahLst/>
            <a:cxnLst>
              <a:cxn ang="0">
                <a:pos x="connsiteX0" y="connsiteY0"/>
              </a:cxn>
              <a:cxn ang="0">
                <a:pos x="connsiteX1" y="connsiteY1"/>
              </a:cxn>
              <a:cxn ang="0">
                <a:pos x="connsiteX2" y="connsiteY2"/>
              </a:cxn>
            </a:cxnLst>
            <a:rect l="l" t="t" r="r" b="b"/>
            <a:pathLst>
              <a:path w="2023164" h="4046329">
                <a:moveTo>
                  <a:pt x="0" y="0"/>
                </a:moveTo>
                <a:lnTo>
                  <a:pt x="2023164" y="2023165"/>
                </a:lnTo>
                <a:lnTo>
                  <a:pt x="0" y="4046329"/>
                </a:lnTo>
                <a:close/>
              </a:path>
            </a:pathLst>
          </a:custGeom>
        </p:spPr>
        <p:txBody>
          <a:bodyPr wrap="square" anchor="ctr">
            <a:noAutofit/>
          </a:bodyPr>
          <a:lstStyle>
            <a:lvl1pPr marL="0" indent="0" algn="ctr">
              <a:buNone/>
              <a:defRPr>
                <a:solidFill>
                  <a:schemeClr val="bg1">
                    <a:lumMod val="50000"/>
                  </a:schemeClr>
                </a:solidFill>
              </a:defRPr>
            </a:lvl1pPr>
          </a:lstStyle>
          <a:p>
            <a:endParaRPr lang="id-ID"/>
          </a:p>
        </p:txBody>
      </p:sp>
    </p:spTree>
    <p:extLst>
      <p:ext uri="{BB962C8B-B14F-4D97-AF65-F5344CB8AC3E}">
        <p14:creationId xmlns:p14="http://schemas.microsoft.com/office/powerpoint/2010/main" val="2192217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ppt_x"/>
                                          </p:val>
                                        </p:tav>
                                        <p:tav tm="100000">
                                          <p:val>
                                            <p:strVal val="#ppt_x"/>
                                          </p:val>
                                        </p:tav>
                                      </p:tavLst>
                                    </p:anim>
                                    <p:anim calcmode="lin" valueType="num">
                                      <p:cBhvr additive="base">
                                        <p:cTn id="8" dur="10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nodePh="1">
                                  <p:stCondLst>
                                    <p:cond delay="250"/>
                                  </p:stCondLst>
                                  <p:endCondLst>
                                    <p:cond evt="begin" delay="0">
                                      <p:tn val="9"/>
                                    </p:cond>
                                  </p:end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ppt_x"/>
                                          </p:val>
                                        </p:tav>
                                        <p:tav tm="100000">
                                          <p:val>
                                            <p:strVal val="#ppt_x"/>
                                          </p:val>
                                        </p:tav>
                                      </p:tavLst>
                                    </p:anim>
                                    <p:anim calcmode="lin" valueType="num">
                                      <p:cBhvr additive="base">
                                        <p:cTn id="12" dur="1000" fill="hold"/>
                                        <p:tgtEl>
                                          <p:spTgt spid="9"/>
                                        </p:tgtEl>
                                        <p:attrNameLst>
                                          <p:attrName>ppt_y</p:attrName>
                                        </p:attrNameLst>
                                      </p:cBhvr>
                                      <p:tavLst>
                                        <p:tav tm="0">
                                          <p:val>
                                            <p:strVal val="0-#ppt_h/2"/>
                                          </p:val>
                                        </p:tav>
                                        <p:tav tm="100000">
                                          <p:val>
                                            <p:strVal val="#ppt_y"/>
                                          </p:val>
                                        </p:tav>
                                      </p:tavLst>
                                    </p:anim>
                                  </p:childTnLst>
                                </p:cTn>
                              </p:par>
                              <p:par>
                                <p:cTn id="13" presetID="2" presetClass="entr" presetSubtype="2" decel="100000" fill="hold" grpId="0" nodeType="withEffect" nodePh="1">
                                  <p:stCondLst>
                                    <p:cond delay="50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1+#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1" decel="100000" fill="hold" grpId="0" nodeType="withEffect" nodePh="1">
                                  <p:stCondLst>
                                    <p:cond delay="750"/>
                                  </p:stCondLst>
                                  <p:endCondLst>
                                    <p:cond evt="begin" delay="0">
                                      <p:tn val="17"/>
                                    </p:cond>
                                  </p:end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1000" fill="hold"/>
                                        <p:tgtEl>
                                          <p:spTgt spid="30"/>
                                        </p:tgtEl>
                                        <p:attrNameLst>
                                          <p:attrName>ppt_x</p:attrName>
                                        </p:attrNameLst>
                                      </p:cBhvr>
                                      <p:tavLst>
                                        <p:tav tm="0">
                                          <p:val>
                                            <p:strVal val="#ppt_x"/>
                                          </p:val>
                                        </p:tav>
                                        <p:tav tm="100000">
                                          <p:val>
                                            <p:strVal val="#ppt_x"/>
                                          </p:val>
                                        </p:tav>
                                      </p:tavLst>
                                    </p:anim>
                                    <p:anim calcmode="lin" valueType="num">
                                      <p:cBhvr additive="base">
                                        <p:cTn id="20" dur="1000" fill="hold"/>
                                        <p:tgtEl>
                                          <p:spTgt spid="30"/>
                                        </p:tgtEl>
                                        <p:attrNameLst>
                                          <p:attrName>ppt_y</p:attrName>
                                        </p:attrNameLst>
                                      </p:cBhvr>
                                      <p:tavLst>
                                        <p:tav tm="0">
                                          <p:val>
                                            <p:strVal val="0-#ppt_h/2"/>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000" fill="hold"/>
                                        <p:tgtEl>
                                          <p:spTgt spid="21"/>
                                        </p:tgtEl>
                                        <p:attrNameLst>
                                          <p:attrName>ppt_x</p:attrName>
                                        </p:attrNameLst>
                                      </p:cBhvr>
                                      <p:tavLst>
                                        <p:tav tm="0">
                                          <p:val>
                                            <p:strVal val="0-#ppt_w/2"/>
                                          </p:val>
                                        </p:tav>
                                        <p:tav tm="100000">
                                          <p:val>
                                            <p:strVal val="#ppt_x"/>
                                          </p:val>
                                        </p:tav>
                                      </p:tavLst>
                                    </p:anim>
                                    <p:anim calcmode="lin" valueType="num">
                                      <p:cBhvr additive="base">
                                        <p:cTn id="24"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15" grpId="0"/>
      <p:bldP spid="21" grpId="0" animBg="1"/>
      <p:bldP spid="22" grpId="0" animBg="1"/>
      <p:bldP spid="9" grpId="0"/>
    </p:bldLst>
  </p:timing>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5E1E8879-0A5B-4B8A-88BC-65B8938BC55F}"/>
              </a:ext>
            </a:extLst>
          </p:cNvPr>
          <p:cNvSpPr>
            <a:spLocks noGrp="1"/>
          </p:cNvSpPr>
          <p:nvPr>
            <p:ph type="pic" sz="quarter" idx="11"/>
          </p:nvPr>
        </p:nvSpPr>
        <p:spPr>
          <a:xfrm>
            <a:off x="2127183" y="3775588"/>
            <a:ext cx="3986980" cy="3082413"/>
          </a:xfrm>
          <a:custGeom>
            <a:avLst/>
            <a:gdLst>
              <a:gd name="connsiteX0" fmla="*/ 1541207 w 3986980"/>
              <a:gd name="connsiteY0" fmla="*/ 0 h 3082413"/>
              <a:gd name="connsiteX1" fmla="*/ 3986980 w 3986980"/>
              <a:gd name="connsiteY1" fmla="*/ 0 h 3082413"/>
              <a:gd name="connsiteX2" fmla="*/ 3986980 w 3986980"/>
              <a:gd name="connsiteY2" fmla="*/ 3082413 h 3082413"/>
              <a:gd name="connsiteX3" fmla="*/ 0 w 3986980"/>
              <a:gd name="connsiteY3" fmla="*/ 3082413 h 3082413"/>
              <a:gd name="connsiteX4" fmla="*/ 0 w 3986980"/>
              <a:gd name="connsiteY4" fmla="*/ 1541206 h 3082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6980" h="3082413">
                <a:moveTo>
                  <a:pt x="1541207" y="0"/>
                </a:moveTo>
                <a:lnTo>
                  <a:pt x="3986980" y="0"/>
                </a:lnTo>
                <a:lnTo>
                  <a:pt x="3986980" y="3082413"/>
                </a:lnTo>
                <a:lnTo>
                  <a:pt x="0" y="3082413"/>
                </a:lnTo>
                <a:lnTo>
                  <a:pt x="0" y="1541206"/>
                </a:lnTo>
                <a:close/>
              </a:path>
            </a:pathLst>
          </a:custGeom>
        </p:spPr>
        <p:txBody>
          <a:bodyPr wrap="square">
            <a:noAutofit/>
          </a:bodyPr>
          <a:lstStyle>
            <a:lvl1pPr marL="0" indent="0" algn="ctr">
              <a:buNone/>
              <a:defRPr>
                <a:solidFill>
                  <a:schemeClr val="bg1">
                    <a:lumMod val="75000"/>
                  </a:schemeClr>
                </a:solidFill>
              </a:defRPr>
            </a:lvl1pPr>
          </a:lstStyle>
          <a:p>
            <a:endParaRPr lang="id-ID"/>
          </a:p>
        </p:txBody>
      </p:sp>
      <p:sp>
        <p:nvSpPr>
          <p:cNvPr id="10" name="Title 2">
            <a:extLst>
              <a:ext uri="{FF2B5EF4-FFF2-40B4-BE49-F238E27FC236}">
                <a16:creationId xmlns:a16="http://schemas.microsoft.com/office/drawing/2014/main" id="{A79FF336-2E9B-4871-A435-2D32DEDEB9B2}"/>
              </a:ext>
            </a:extLst>
          </p:cNvPr>
          <p:cNvSpPr>
            <a:spLocks noGrp="1"/>
          </p:cNvSpPr>
          <p:nvPr>
            <p:ph type="title"/>
          </p:nvPr>
        </p:nvSpPr>
        <p:spPr>
          <a:xfrm>
            <a:off x="803729" y="568326"/>
            <a:ext cx="10584543" cy="492124"/>
          </a:xfrm>
          <a:prstGeom prst="rect">
            <a:avLst/>
          </a:prstGeom>
        </p:spPr>
        <p:txBody>
          <a:bodyPr anchor="ctr"/>
          <a:lstStyle>
            <a:lvl1pPr algn="l">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14" name="Group 13">
            <a:extLst>
              <a:ext uri="{FF2B5EF4-FFF2-40B4-BE49-F238E27FC236}">
                <a16:creationId xmlns:a16="http://schemas.microsoft.com/office/drawing/2014/main" id="{051435ED-A226-4311-A91D-AED9476358E9}"/>
              </a:ext>
            </a:extLst>
          </p:cNvPr>
          <p:cNvGrpSpPr/>
          <p:nvPr userDrawn="1"/>
        </p:nvGrpSpPr>
        <p:grpSpPr>
          <a:xfrm>
            <a:off x="887636" y="1351915"/>
            <a:ext cx="934314" cy="45719"/>
            <a:chOff x="887636" y="1148715"/>
            <a:chExt cx="934314" cy="45719"/>
          </a:xfrm>
        </p:grpSpPr>
        <p:sp>
          <p:nvSpPr>
            <p:cNvPr id="15" name="Freeform: Shape 14">
              <a:extLst>
                <a:ext uri="{FF2B5EF4-FFF2-40B4-BE49-F238E27FC236}">
                  <a16:creationId xmlns:a16="http://schemas.microsoft.com/office/drawing/2014/main" id="{96CE29BB-6058-4C3C-AA3B-C8E8AE12081D}"/>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6" name="Freeform: Shape 15">
              <a:extLst>
                <a:ext uri="{FF2B5EF4-FFF2-40B4-BE49-F238E27FC236}">
                  <a16:creationId xmlns:a16="http://schemas.microsoft.com/office/drawing/2014/main" id="{D60AA5B1-52E5-4DEF-9860-8D64E32946AC}"/>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7" name="Freeform: Shape 16">
              <a:extLst>
                <a:ext uri="{FF2B5EF4-FFF2-40B4-BE49-F238E27FC236}">
                  <a16:creationId xmlns:a16="http://schemas.microsoft.com/office/drawing/2014/main" id="{A48B8C97-0A2B-4136-A8AA-C7CE3C723BF5}"/>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18" name="Content Placeholder 11">
            <a:extLst>
              <a:ext uri="{FF2B5EF4-FFF2-40B4-BE49-F238E27FC236}">
                <a16:creationId xmlns:a16="http://schemas.microsoft.com/office/drawing/2014/main" id="{FBC7CEF6-D6E9-4B1D-8CBC-D751E9D3EC4D}"/>
              </a:ext>
            </a:extLst>
          </p:cNvPr>
          <p:cNvSpPr>
            <a:spLocks noGrp="1"/>
          </p:cNvSpPr>
          <p:nvPr>
            <p:ph sz="quarter" idx="12"/>
          </p:nvPr>
        </p:nvSpPr>
        <p:spPr>
          <a:xfrm>
            <a:off x="803729" y="1042673"/>
            <a:ext cx="10584542" cy="327019"/>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671692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1200" fill="hold"/>
                                        <p:tgtEl>
                                          <p:spTgt spid="18"/>
                                        </p:tgtEl>
                                        <p:attrNameLst>
                                          <p:attrName>ppt_x</p:attrName>
                                        </p:attrNameLst>
                                      </p:cBhvr>
                                      <p:tavLst>
                                        <p:tav tm="0">
                                          <p:val>
                                            <p:strVal val="0-#ppt_w/2"/>
                                          </p:val>
                                        </p:tav>
                                        <p:tav tm="100000">
                                          <p:val>
                                            <p:strVal val="#ppt_x"/>
                                          </p:val>
                                        </p:tav>
                                      </p:tavLst>
                                    </p:anim>
                                    <p:anim calcmode="lin" valueType="num">
                                      <p:cBhvr additive="base">
                                        <p:cTn id="12" dur="1200" fill="hold"/>
                                        <p:tgtEl>
                                          <p:spTgt spid="18"/>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par>
                                <p:cTn id="16" presetID="2" presetClass="entr" presetSubtype="2" decel="100000" fill="hold" grpId="0" nodeType="withEffect" nodePh="1">
                                  <p:stCondLst>
                                    <p:cond delay="500"/>
                                  </p:stCondLst>
                                  <p:endCondLst>
                                    <p:cond evt="begin" delay="0">
                                      <p:tn val="16"/>
                                    </p:cond>
                                  </p:end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1000" fill="hold"/>
                                        <p:tgtEl>
                                          <p:spTgt spid="11"/>
                                        </p:tgtEl>
                                        <p:attrNameLst>
                                          <p:attrName>ppt_x</p:attrName>
                                        </p:attrNameLst>
                                      </p:cBhvr>
                                      <p:tavLst>
                                        <p:tav tm="0">
                                          <p:val>
                                            <p:strVal val="1+#ppt_w/2"/>
                                          </p:val>
                                        </p:tav>
                                        <p:tav tm="100000">
                                          <p:val>
                                            <p:strVal val="#ppt_x"/>
                                          </p:val>
                                        </p:tav>
                                      </p:tavLst>
                                    </p:anim>
                                    <p:anim calcmode="lin" valueType="num">
                                      <p:cBhvr additive="base">
                                        <p:cTn id="19"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0" grpId="0"/>
      <p:bldP spid="18" grpId="0">
        <p:tmplLst>
          <p:tmpl>
            <p:tnLst>
              <p:par>
                <p:cTn presetID="2" presetClass="entr" presetSubtype="8" decel="10000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1200" fill="hold"/>
                        <p:tgtEl>
                          <p:spTgt spid="18"/>
                        </p:tgtEl>
                        <p:attrNameLst>
                          <p:attrName>ppt_x</p:attrName>
                        </p:attrNameLst>
                      </p:cBhvr>
                      <p:tavLst>
                        <p:tav tm="0">
                          <p:val>
                            <p:strVal val="0-#ppt_w/2"/>
                          </p:val>
                        </p:tav>
                        <p:tav tm="100000">
                          <p:val>
                            <p:strVal val="#ppt_x"/>
                          </p:val>
                        </p:tav>
                      </p:tavLst>
                    </p:anim>
                    <p:anim calcmode="lin" valueType="num">
                      <p:cBhvr additive="base">
                        <p:cTn dur="1200" fill="hold"/>
                        <p:tgtEl>
                          <p:spTgt spid="18"/>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506FA6D-F936-4730-8F5B-8BEE8ED725D8}"/>
              </a:ext>
            </a:extLst>
          </p:cNvPr>
          <p:cNvSpPr>
            <a:spLocks noGrp="1"/>
          </p:cNvSpPr>
          <p:nvPr>
            <p:ph type="pic" sz="quarter" idx="11"/>
          </p:nvPr>
        </p:nvSpPr>
        <p:spPr>
          <a:xfrm>
            <a:off x="3411547" y="1369692"/>
            <a:ext cx="7454011" cy="11607790"/>
          </a:xfrm>
          <a:custGeom>
            <a:avLst/>
            <a:gdLst>
              <a:gd name="connsiteX0" fmla="*/ 5006579 w 7454011"/>
              <a:gd name="connsiteY0" fmla="*/ 0 h 11607790"/>
              <a:gd name="connsiteX1" fmla="*/ 7454011 w 7454011"/>
              <a:gd name="connsiteY1" fmla="*/ 2447432 h 11607790"/>
              <a:gd name="connsiteX2" fmla="*/ 7454011 w 7454011"/>
              <a:gd name="connsiteY2" fmla="*/ 6601210 h 11607790"/>
              <a:gd name="connsiteX3" fmla="*/ 2447431 w 7454011"/>
              <a:gd name="connsiteY3" fmla="*/ 11607790 h 11607790"/>
              <a:gd name="connsiteX4" fmla="*/ 0 w 7454011"/>
              <a:gd name="connsiteY4" fmla="*/ 9160358 h 11607790"/>
              <a:gd name="connsiteX5" fmla="*/ 0 w 7454011"/>
              <a:gd name="connsiteY5" fmla="*/ 5006580 h 1160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4011" h="11607790">
                <a:moveTo>
                  <a:pt x="5006579" y="0"/>
                </a:moveTo>
                <a:lnTo>
                  <a:pt x="7454011" y="2447432"/>
                </a:lnTo>
                <a:lnTo>
                  <a:pt x="7454011" y="6601210"/>
                </a:lnTo>
                <a:lnTo>
                  <a:pt x="2447431" y="11607790"/>
                </a:lnTo>
                <a:lnTo>
                  <a:pt x="0" y="9160358"/>
                </a:lnTo>
                <a:lnTo>
                  <a:pt x="0" y="5006580"/>
                </a:lnTo>
                <a:close/>
              </a:path>
            </a:pathLst>
          </a:custGeom>
        </p:spPr>
        <p:txBody>
          <a:bodyPr wrap="square" anchor="t">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370412174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506FA6D-F936-4730-8F5B-8BEE8ED725D8}"/>
              </a:ext>
            </a:extLst>
          </p:cNvPr>
          <p:cNvSpPr>
            <a:spLocks noGrp="1"/>
          </p:cNvSpPr>
          <p:nvPr>
            <p:ph type="pic" sz="quarter" idx="11"/>
          </p:nvPr>
        </p:nvSpPr>
        <p:spPr>
          <a:xfrm>
            <a:off x="3411547" y="-5562050"/>
            <a:ext cx="7454011" cy="11607790"/>
          </a:xfrm>
          <a:custGeom>
            <a:avLst/>
            <a:gdLst>
              <a:gd name="connsiteX0" fmla="*/ 5006579 w 7454011"/>
              <a:gd name="connsiteY0" fmla="*/ 0 h 11607790"/>
              <a:gd name="connsiteX1" fmla="*/ 7454011 w 7454011"/>
              <a:gd name="connsiteY1" fmla="*/ 2447432 h 11607790"/>
              <a:gd name="connsiteX2" fmla="*/ 7454011 w 7454011"/>
              <a:gd name="connsiteY2" fmla="*/ 6601210 h 11607790"/>
              <a:gd name="connsiteX3" fmla="*/ 2447431 w 7454011"/>
              <a:gd name="connsiteY3" fmla="*/ 11607790 h 11607790"/>
              <a:gd name="connsiteX4" fmla="*/ 0 w 7454011"/>
              <a:gd name="connsiteY4" fmla="*/ 9160358 h 11607790"/>
              <a:gd name="connsiteX5" fmla="*/ 0 w 7454011"/>
              <a:gd name="connsiteY5" fmla="*/ 5006580 h 1160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4011" h="11607790">
                <a:moveTo>
                  <a:pt x="5006579" y="0"/>
                </a:moveTo>
                <a:lnTo>
                  <a:pt x="7454011" y="2447432"/>
                </a:lnTo>
                <a:lnTo>
                  <a:pt x="7454011" y="6601210"/>
                </a:lnTo>
                <a:lnTo>
                  <a:pt x="2447431" y="11607790"/>
                </a:lnTo>
                <a:lnTo>
                  <a:pt x="0" y="9160358"/>
                </a:lnTo>
                <a:lnTo>
                  <a:pt x="0" y="5006580"/>
                </a:lnTo>
                <a:close/>
              </a:path>
            </a:pathLst>
          </a:custGeom>
        </p:spPr>
        <p:txBody>
          <a:bodyPr wrap="square" anchor="b">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116747578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3E33524-3A05-4E35-AE9B-79A839A97C35}"/>
              </a:ext>
            </a:extLst>
          </p:cNvPr>
          <p:cNvSpPr>
            <a:spLocks noGrp="1"/>
          </p:cNvSpPr>
          <p:nvPr>
            <p:ph type="pic" sz="quarter" idx="11"/>
          </p:nvPr>
        </p:nvSpPr>
        <p:spPr>
          <a:xfrm>
            <a:off x="-14458" y="3253765"/>
            <a:ext cx="5240305" cy="2561562"/>
          </a:xfrm>
          <a:custGeom>
            <a:avLst/>
            <a:gdLst>
              <a:gd name="connsiteX0" fmla="*/ 29397 w 5240305"/>
              <a:gd name="connsiteY0" fmla="*/ 0 h 2561562"/>
              <a:gd name="connsiteX1" fmla="*/ 165776 w 5240305"/>
              <a:gd name="connsiteY1" fmla="*/ 0 h 2561562"/>
              <a:gd name="connsiteX2" fmla="*/ 546624 w 5240305"/>
              <a:gd name="connsiteY2" fmla="*/ 0 h 2561562"/>
              <a:gd name="connsiteX3" fmla="*/ 630249 w 5240305"/>
              <a:gd name="connsiteY3" fmla="*/ 0 h 2561562"/>
              <a:gd name="connsiteX4" fmla="*/ 683003 w 5240305"/>
              <a:gd name="connsiteY4" fmla="*/ 0 h 2561562"/>
              <a:gd name="connsiteX5" fmla="*/ 766628 w 5240305"/>
              <a:gd name="connsiteY5" fmla="*/ 0 h 2561562"/>
              <a:gd name="connsiteX6" fmla="*/ 2064675 w 5240305"/>
              <a:gd name="connsiteY6" fmla="*/ 0 h 2561562"/>
              <a:gd name="connsiteX7" fmla="*/ 2201054 w 5240305"/>
              <a:gd name="connsiteY7" fmla="*/ 0 h 2561562"/>
              <a:gd name="connsiteX8" fmla="*/ 2581902 w 5240305"/>
              <a:gd name="connsiteY8" fmla="*/ 0 h 2561562"/>
              <a:gd name="connsiteX9" fmla="*/ 2665527 w 5240305"/>
              <a:gd name="connsiteY9" fmla="*/ 0 h 2561562"/>
              <a:gd name="connsiteX10" fmla="*/ 2718281 w 5240305"/>
              <a:gd name="connsiteY10" fmla="*/ 0 h 2561562"/>
              <a:gd name="connsiteX11" fmla="*/ 2801906 w 5240305"/>
              <a:gd name="connsiteY11" fmla="*/ 0 h 2561562"/>
              <a:gd name="connsiteX12" fmla="*/ 3068648 w 5240305"/>
              <a:gd name="connsiteY12" fmla="*/ 0 h 2561562"/>
              <a:gd name="connsiteX13" fmla="*/ 3205027 w 5240305"/>
              <a:gd name="connsiteY13" fmla="*/ 0 h 2561562"/>
              <a:gd name="connsiteX14" fmla="*/ 5103926 w 5240305"/>
              <a:gd name="connsiteY14" fmla="*/ 0 h 2561562"/>
              <a:gd name="connsiteX15" fmla="*/ 5240305 w 5240305"/>
              <a:gd name="connsiteY15" fmla="*/ 0 h 2561562"/>
              <a:gd name="connsiteX16" fmla="*/ 2678743 w 5240305"/>
              <a:gd name="connsiteY16" fmla="*/ 2561562 h 2561562"/>
              <a:gd name="connsiteX17" fmla="*/ 2542364 w 5240305"/>
              <a:gd name="connsiteY17" fmla="*/ 2561562 h 2561562"/>
              <a:gd name="connsiteX18" fmla="*/ 2161516 w 5240305"/>
              <a:gd name="connsiteY18" fmla="*/ 2561562 h 2561562"/>
              <a:gd name="connsiteX19" fmla="*/ 2077891 w 5240305"/>
              <a:gd name="connsiteY19" fmla="*/ 2561562 h 2561562"/>
              <a:gd name="connsiteX20" fmla="*/ 2025137 w 5240305"/>
              <a:gd name="connsiteY20" fmla="*/ 2561562 h 2561562"/>
              <a:gd name="connsiteX21" fmla="*/ 1941512 w 5240305"/>
              <a:gd name="connsiteY21" fmla="*/ 2561562 h 2561562"/>
              <a:gd name="connsiteX22" fmla="*/ 643465 w 5240305"/>
              <a:gd name="connsiteY22" fmla="*/ 2561562 h 2561562"/>
              <a:gd name="connsiteX23" fmla="*/ 507086 w 5240305"/>
              <a:gd name="connsiteY23" fmla="*/ 2561562 h 2561562"/>
              <a:gd name="connsiteX24" fmla="*/ 136379 w 5240305"/>
              <a:gd name="connsiteY24" fmla="*/ 2561562 h 2561562"/>
              <a:gd name="connsiteX25" fmla="*/ 0 w 5240305"/>
              <a:gd name="connsiteY25" fmla="*/ 2561562 h 2561562"/>
              <a:gd name="connsiteX26" fmla="*/ 0 w 5240305"/>
              <a:gd name="connsiteY26" fmla="*/ 29397 h 25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40305" h="2561562">
                <a:moveTo>
                  <a:pt x="29397" y="0"/>
                </a:moveTo>
                <a:lnTo>
                  <a:pt x="165776" y="0"/>
                </a:lnTo>
                <a:lnTo>
                  <a:pt x="546624" y="0"/>
                </a:lnTo>
                <a:lnTo>
                  <a:pt x="630249" y="0"/>
                </a:lnTo>
                <a:lnTo>
                  <a:pt x="683003" y="0"/>
                </a:lnTo>
                <a:lnTo>
                  <a:pt x="766628" y="0"/>
                </a:lnTo>
                <a:lnTo>
                  <a:pt x="2064675" y="0"/>
                </a:lnTo>
                <a:lnTo>
                  <a:pt x="2201054" y="0"/>
                </a:lnTo>
                <a:lnTo>
                  <a:pt x="2581902" y="0"/>
                </a:lnTo>
                <a:lnTo>
                  <a:pt x="2665527" y="0"/>
                </a:lnTo>
                <a:lnTo>
                  <a:pt x="2718281" y="0"/>
                </a:lnTo>
                <a:lnTo>
                  <a:pt x="2801906" y="0"/>
                </a:lnTo>
                <a:lnTo>
                  <a:pt x="3068648" y="0"/>
                </a:lnTo>
                <a:lnTo>
                  <a:pt x="3205027" y="0"/>
                </a:lnTo>
                <a:lnTo>
                  <a:pt x="5103926" y="0"/>
                </a:lnTo>
                <a:lnTo>
                  <a:pt x="5240305" y="0"/>
                </a:lnTo>
                <a:lnTo>
                  <a:pt x="2678743" y="2561562"/>
                </a:lnTo>
                <a:lnTo>
                  <a:pt x="2542364" y="2561562"/>
                </a:lnTo>
                <a:lnTo>
                  <a:pt x="2161516" y="2561562"/>
                </a:lnTo>
                <a:lnTo>
                  <a:pt x="2077891" y="2561562"/>
                </a:lnTo>
                <a:lnTo>
                  <a:pt x="2025137" y="2561562"/>
                </a:lnTo>
                <a:lnTo>
                  <a:pt x="1941512" y="2561562"/>
                </a:lnTo>
                <a:lnTo>
                  <a:pt x="643465" y="2561562"/>
                </a:lnTo>
                <a:lnTo>
                  <a:pt x="507086" y="2561562"/>
                </a:lnTo>
                <a:lnTo>
                  <a:pt x="136379" y="2561562"/>
                </a:lnTo>
                <a:lnTo>
                  <a:pt x="0" y="2561562"/>
                </a:lnTo>
                <a:lnTo>
                  <a:pt x="0" y="29397"/>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18" name="Picture Placeholder 17">
            <a:extLst>
              <a:ext uri="{FF2B5EF4-FFF2-40B4-BE49-F238E27FC236}">
                <a16:creationId xmlns:a16="http://schemas.microsoft.com/office/drawing/2014/main" id="{0422EFFD-E808-4470-AD88-79B1C1FB7C31}"/>
              </a:ext>
            </a:extLst>
          </p:cNvPr>
          <p:cNvSpPr>
            <a:spLocks noGrp="1"/>
          </p:cNvSpPr>
          <p:nvPr>
            <p:ph type="pic" sz="quarter" idx="12"/>
          </p:nvPr>
        </p:nvSpPr>
        <p:spPr>
          <a:xfrm>
            <a:off x="2842640" y="3253765"/>
            <a:ext cx="7636091" cy="2561562"/>
          </a:xfrm>
          <a:custGeom>
            <a:avLst/>
            <a:gdLst>
              <a:gd name="connsiteX0" fmla="*/ 2561562 w 7636091"/>
              <a:gd name="connsiteY0" fmla="*/ 0 h 2561562"/>
              <a:gd name="connsiteX1" fmla="*/ 3078789 w 7636091"/>
              <a:gd name="connsiteY1" fmla="*/ 0 h 2561562"/>
              <a:gd name="connsiteX2" fmla="*/ 3162414 w 7636091"/>
              <a:gd name="connsiteY2" fmla="*/ 0 h 2561562"/>
              <a:gd name="connsiteX3" fmla="*/ 4596840 w 7636091"/>
              <a:gd name="connsiteY3" fmla="*/ 0 h 2561562"/>
              <a:gd name="connsiteX4" fmla="*/ 5114067 w 7636091"/>
              <a:gd name="connsiteY4" fmla="*/ 0 h 2561562"/>
              <a:gd name="connsiteX5" fmla="*/ 5197692 w 7636091"/>
              <a:gd name="connsiteY5" fmla="*/ 0 h 2561562"/>
              <a:gd name="connsiteX6" fmla="*/ 5600813 w 7636091"/>
              <a:gd name="connsiteY6" fmla="*/ 0 h 2561562"/>
              <a:gd name="connsiteX7" fmla="*/ 7636091 w 7636091"/>
              <a:gd name="connsiteY7" fmla="*/ 0 h 2561562"/>
              <a:gd name="connsiteX8" fmla="*/ 5074529 w 7636091"/>
              <a:gd name="connsiteY8" fmla="*/ 2561562 h 2561562"/>
              <a:gd name="connsiteX9" fmla="*/ 4557302 w 7636091"/>
              <a:gd name="connsiteY9" fmla="*/ 2561562 h 2561562"/>
              <a:gd name="connsiteX10" fmla="*/ 4473677 w 7636091"/>
              <a:gd name="connsiteY10" fmla="*/ 2561562 h 2561562"/>
              <a:gd name="connsiteX11" fmla="*/ 3039251 w 7636091"/>
              <a:gd name="connsiteY11" fmla="*/ 2561562 h 2561562"/>
              <a:gd name="connsiteX12" fmla="*/ 2522024 w 7636091"/>
              <a:gd name="connsiteY12" fmla="*/ 2561562 h 2561562"/>
              <a:gd name="connsiteX13" fmla="*/ 2438399 w 7636091"/>
              <a:gd name="connsiteY13" fmla="*/ 2561562 h 2561562"/>
              <a:gd name="connsiteX14" fmla="*/ 2035278 w 7636091"/>
              <a:gd name="connsiteY14" fmla="*/ 2561562 h 2561562"/>
              <a:gd name="connsiteX15" fmla="*/ 0 w 7636091"/>
              <a:gd name="connsiteY15" fmla="*/ 2561562 h 25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36091" h="2561562">
                <a:moveTo>
                  <a:pt x="2561562" y="0"/>
                </a:moveTo>
                <a:lnTo>
                  <a:pt x="3078789" y="0"/>
                </a:lnTo>
                <a:lnTo>
                  <a:pt x="3162414" y="0"/>
                </a:lnTo>
                <a:lnTo>
                  <a:pt x="4596840" y="0"/>
                </a:lnTo>
                <a:lnTo>
                  <a:pt x="5114067" y="0"/>
                </a:lnTo>
                <a:lnTo>
                  <a:pt x="5197692" y="0"/>
                </a:lnTo>
                <a:lnTo>
                  <a:pt x="5600813" y="0"/>
                </a:lnTo>
                <a:lnTo>
                  <a:pt x="7636091" y="0"/>
                </a:lnTo>
                <a:lnTo>
                  <a:pt x="5074529" y="2561562"/>
                </a:lnTo>
                <a:lnTo>
                  <a:pt x="4557302" y="2561562"/>
                </a:lnTo>
                <a:lnTo>
                  <a:pt x="4473677" y="2561562"/>
                </a:lnTo>
                <a:lnTo>
                  <a:pt x="3039251" y="2561562"/>
                </a:lnTo>
                <a:lnTo>
                  <a:pt x="2522024" y="2561562"/>
                </a:lnTo>
                <a:lnTo>
                  <a:pt x="2438399" y="2561562"/>
                </a:lnTo>
                <a:lnTo>
                  <a:pt x="2035278" y="2561562"/>
                </a:lnTo>
                <a:lnTo>
                  <a:pt x="0" y="2561562"/>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21" name="Picture Placeholder 20">
            <a:extLst>
              <a:ext uri="{FF2B5EF4-FFF2-40B4-BE49-F238E27FC236}">
                <a16:creationId xmlns:a16="http://schemas.microsoft.com/office/drawing/2014/main" id="{9544ECDA-1DC5-44B4-8D92-93E9E19A1B15}"/>
              </a:ext>
            </a:extLst>
          </p:cNvPr>
          <p:cNvSpPr>
            <a:spLocks noGrp="1"/>
          </p:cNvSpPr>
          <p:nvPr>
            <p:ph type="pic" sz="quarter" idx="13"/>
          </p:nvPr>
        </p:nvSpPr>
        <p:spPr>
          <a:xfrm>
            <a:off x="8095524" y="3253765"/>
            <a:ext cx="4096476" cy="2561562"/>
          </a:xfrm>
          <a:custGeom>
            <a:avLst/>
            <a:gdLst>
              <a:gd name="connsiteX0" fmla="*/ 2561562 w 4096476"/>
              <a:gd name="connsiteY0" fmla="*/ 0 h 2561562"/>
              <a:gd name="connsiteX1" fmla="*/ 3078789 w 4096476"/>
              <a:gd name="connsiteY1" fmla="*/ 0 h 2561562"/>
              <a:gd name="connsiteX2" fmla="*/ 3162414 w 4096476"/>
              <a:gd name="connsiteY2" fmla="*/ 0 h 2561562"/>
              <a:gd name="connsiteX3" fmla="*/ 4096476 w 4096476"/>
              <a:gd name="connsiteY3" fmla="*/ 0 h 2561562"/>
              <a:gd name="connsiteX4" fmla="*/ 4096476 w 4096476"/>
              <a:gd name="connsiteY4" fmla="*/ 2561562 h 2561562"/>
              <a:gd name="connsiteX5" fmla="*/ 3039251 w 4096476"/>
              <a:gd name="connsiteY5" fmla="*/ 2561562 h 2561562"/>
              <a:gd name="connsiteX6" fmla="*/ 2522024 w 4096476"/>
              <a:gd name="connsiteY6" fmla="*/ 2561562 h 2561562"/>
              <a:gd name="connsiteX7" fmla="*/ 2438399 w 4096476"/>
              <a:gd name="connsiteY7" fmla="*/ 2561562 h 2561562"/>
              <a:gd name="connsiteX8" fmla="*/ 2035278 w 4096476"/>
              <a:gd name="connsiteY8" fmla="*/ 2561562 h 2561562"/>
              <a:gd name="connsiteX9" fmla="*/ 0 w 4096476"/>
              <a:gd name="connsiteY9" fmla="*/ 2561562 h 25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6476" h="2561562">
                <a:moveTo>
                  <a:pt x="2561562" y="0"/>
                </a:moveTo>
                <a:lnTo>
                  <a:pt x="3078789" y="0"/>
                </a:lnTo>
                <a:lnTo>
                  <a:pt x="3162414" y="0"/>
                </a:lnTo>
                <a:lnTo>
                  <a:pt x="4096476" y="0"/>
                </a:lnTo>
                <a:lnTo>
                  <a:pt x="4096476" y="2561562"/>
                </a:lnTo>
                <a:lnTo>
                  <a:pt x="3039251" y="2561562"/>
                </a:lnTo>
                <a:lnTo>
                  <a:pt x="2522024" y="2561562"/>
                </a:lnTo>
                <a:lnTo>
                  <a:pt x="2438399" y="2561562"/>
                </a:lnTo>
                <a:lnTo>
                  <a:pt x="2035278" y="2561562"/>
                </a:lnTo>
                <a:lnTo>
                  <a:pt x="0" y="2561562"/>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11" name="Freeform: Shape 10">
            <a:extLst>
              <a:ext uri="{FF2B5EF4-FFF2-40B4-BE49-F238E27FC236}">
                <a16:creationId xmlns:a16="http://schemas.microsoft.com/office/drawing/2014/main" id="{92309414-E6A1-4BE1-AF8C-5A09671E9550}"/>
              </a:ext>
            </a:extLst>
          </p:cNvPr>
          <p:cNvSpPr/>
          <p:nvPr userDrawn="1"/>
        </p:nvSpPr>
        <p:spPr>
          <a:xfrm>
            <a:off x="5404316" y="1"/>
            <a:ext cx="6787685" cy="3253765"/>
          </a:xfrm>
          <a:custGeom>
            <a:avLst/>
            <a:gdLst>
              <a:gd name="connsiteX0" fmla="*/ 3253877 w 6787685"/>
              <a:gd name="connsiteY0" fmla="*/ 0 h 3253765"/>
              <a:gd name="connsiteX1" fmla="*/ 6787685 w 6787685"/>
              <a:gd name="connsiteY1" fmla="*/ 0 h 3253765"/>
              <a:gd name="connsiteX2" fmla="*/ 6787685 w 6787685"/>
              <a:gd name="connsiteY2" fmla="*/ 1540608 h 3253765"/>
              <a:gd name="connsiteX3" fmla="*/ 5074528 w 6787685"/>
              <a:gd name="connsiteY3" fmla="*/ 3253765 h 3253765"/>
              <a:gd name="connsiteX4" fmla="*/ 4557301 w 6787685"/>
              <a:gd name="connsiteY4" fmla="*/ 3253765 h 3253765"/>
              <a:gd name="connsiteX5" fmla="*/ 4473676 w 6787685"/>
              <a:gd name="connsiteY5" fmla="*/ 3253765 h 3253765"/>
              <a:gd name="connsiteX6" fmla="*/ 3039250 w 6787685"/>
              <a:gd name="connsiteY6" fmla="*/ 3253765 h 3253765"/>
              <a:gd name="connsiteX7" fmla="*/ 2522023 w 6787685"/>
              <a:gd name="connsiteY7" fmla="*/ 3253765 h 3253765"/>
              <a:gd name="connsiteX8" fmla="*/ 2438399 w 6787685"/>
              <a:gd name="connsiteY8" fmla="*/ 3253765 h 3253765"/>
              <a:gd name="connsiteX9" fmla="*/ 2035277 w 6787685"/>
              <a:gd name="connsiteY9" fmla="*/ 3253765 h 3253765"/>
              <a:gd name="connsiteX10" fmla="*/ 0 w 6787685"/>
              <a:gd name="connsiteY10" fmla="*/ 3253765 h 3253765"/>
              <a:gd name="connsiteX11" fmla="*/ 2561561 w 6787685"/>
              <a:gd name="connsiteY11" fmla="*/ 692203 h 3253765"/>
              <a:gd name="connsiteX12" fmla="*/ 2561674 w 6787685"/>
              <a:gd name="connsiteY12" fmla="*/ 692203 h 3253765"/>
              <a:gd name="connsiteX13" fmla="*/ 3253877 w 6787685"/>
              <a:gd name="connsiteY13" fmla="*/ 0 h 325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87685" h="3253765">
                <a:moveTo>
                  <a:pt x="3253877" y="0"/>
                </a:moveTo>
                <a:lnTo>
                  <a:pt x="6787685" y="0"/>
                </a:lnTo>
                <a:lnTo>
                  <a:pt x="6787685" y="1540608"/>
                </a:lnTo>
                <a:lnTo>
                  <a:pt x="5074528" y="3253765"/>
                </a:lnTo>
                <a:lnTo>
                  <a:pt x="4557301" y="3253765"/>
                </a:lnTo>
                <a:lnTo>
                  <a:pt x="4473676" y="3253765"/>
                </a:lnTo>
                <a:lnTo>
                  <a:pt x="3039250" y="3253765"/>
                </a:lnTo>
                <a:lnTo>
                  <a:pt x="2522023" y="3253765"/>
                </a:lnTo>
                <a:lnTo>
                  <a:pt x="2438399" y="3253765"/>
                </a:lnTo>
                <a:lnTo>
                  <a:pt x="2035277" y="3253765"/>
                </a:lnTo>
                <a:lnTo>
                  <a:pt x="0" y="3253765"/>
                </a:lnTo>
                <a:lnTo>
                  <a:pt x="2561561" y="692203"/>
                </a:lnTo>
                <a:lnTo>
                  <a:pt x="2561674" y="692203"/>
                </a:lnTo>
                <a:lnTo>
                  <a:pt x="3253877"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Freeform: Shape 13">
            <a:extLst>
              <a:ext uri="{FF2B5EF4-FFF2-40B4-BE49-F238E27FC236}">
                <a16:creationId xmlns:a16="http://schemas.microsoft.com/office/drawing/2014/main" id="{7A32A754-1746-45F9-98EF-A5EB0A901D8B}"/>
              </a:ext>
            </a:extLst>
          </p:cNvPr>
          <p:cNvSpPr/>
          <p:nvPr userDrawn="1"/>
        </p:nvSpPr>
        <p:spPr>
          <a:xfrm>
            <a:off x="1799853" y="5815328"/>
            <a:ext cx="6117202" cy="1042673"/>
          </a:xfrm>
          <a:custGeom>
            <a:avLst/>
            <a:gdLst>
              <a:gd name="connsiteX0" fmla="*/ 1042673 w 6117202"/>
              <a:gd name="connsiteY0" fmla="*/ 0 h 1042673"/>
              <a:gd name="connsiteX1" fmla="*/ 1559900 w 6117202"/>
              <a:gd name="connsiteY1" fmla="*/ 0 h 1042673"/>
              <a:gd name="connsiteX2" fmla="*/ 1643525 w 6117202"/>
              <a:gd name="connsiteY2" fmla="*/ 0 h 1042673"/>
              <a:gd name="connsiteX3" fmla="*/ 3077951 w 6117202"/>
              <a:gd name="connsiteY3" fmla="*/ 0 h 1042673"/>
              <a:gd name="connsiteX4" fmla="*/ 3595178 w 6117202"/>
              <a:gd name="connsiteY4" fmla="*/ 0 h 1042673"/>
              <a:gd name="connsiteX5" fmla="*/ 3678803 w 6117202"/>
              <a:gd name="connsiteY5" fmla="*/ 0 h 1042673"/>
              <a:gd name="connsiteX6" fmla="*/ 4081925 w 6117202"/>
              <a:gd name="connsiteY6" fmla="*/ 0 h 1042673"/>
              <a:gd name="connsiteX7" fmla="*/ 6117202 w 6117202"/>
              <a:gd name="connsiteY7" fmla="*/ 0 h 1042673"/>
              <a:gd name="connsiteX8" fmla="*/ 5074529 w 6117202"/>
              <a:gd name="connsiteY8" fmla="*/ 1042673 h 1042673"/>
              <a:gd name="connsiteX9" fmla="*/ 0 w 6117202"/>
              <a:gd name="connsiteY9" fmla="*/ 1042673 h 1042673"/>
              <a:gd name="connsiteX10" fmla="*/ 1042673 w 6117202"/>
              <a:gd name="connsiteY10" fmla="*/ 0 h 1042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17202" h="1042673">
                <a:moveTo>
                  <a:pt x="1042673" y="0"/>
                </a:moveTo>
                <a:lnTo>
                  <a:pt x="1559900" y="0"/>
                </a:lnTo>
                <a:lnTo>
                  <a:pt x="1643525" y="0"/>
                </a:lnTo>
                <a:lnTo>
                  <a:pt x="3077951" y="0"/>
                </a:lnTo>
                <a:lnTo>
                  <a:pt x="3595178" y="0"/>
                </a:lnTo>
                <a:lnTo>
                  <a:pt x="3678803" y="0"/>
                </a:lnTo>
                <a:lnTo>
                  <a:pt x="4081925" y="0"/>
                </a:lnTo>
                <a:lnTo>
                  <a:pt x="6117202" y="0"/>
                </a:lnTo>
                <a:lnTo>
                  <a:pt x="5074529" y="1042673"/>
                </a:lnTo>
                <a:lnTo>
                  <a:pt x="0" y="1042673"/>
                </a:lnTo>
                <a:lnTo>
                  <a:pt x="1042673"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itle 2">
            <a:extLst>
              <a:ext uri="{FF2B5EF4-FFF2-40B4-BE49-F238E27FC236}">
                <a16:creationId xmlns:a16="http://schemas.microsoft.com/office/drawing/2014/main" id="{95D3B1F0-E271-4DB5-A69A-6A10AE630DFC}"/>
              </a:ext>
            </a:extLst>
          </p:cNvPr>
          <p:cNvSpPr>
            <a:spLocks noGrp="1"/>
          </p:cNvSpPr>
          <p:nvPr>
            <p:ph type="title"/>
          </p:nvPr>
        </p:nvSpPr>
        <p:spPr>
          <a:xfrm>
            <a:off x="803729" y="568326"/>
            <a:ext cx="10584543" cy="492124"/>
          </a:xfrm>
          <a:prstGeom prst="rect">
            <a:avLst/>
          </a:prstGeom>
        </p:spPr>
        <p:txBody>
          <a:bodyPr anchor="ctr"/>
          <a:lstStyle>
            <a:lvl1pPr algn="l">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16" name="Group 15">
            <a:extLst>
              <a:ext uri="{FF2B5EF4-FFF2-40B4-BE49-F238E27FC236}">
                <a16:creationId xmlns:a16="http://schemas.microsoft.com/office/drawing/2014/main" id="{0ACB5D45-9776-41C3-AA79-135C2FC1D4EB}"/>
              </a:ext>
            </a:extLst>
          </p:cNvPr>
          <p:cNvGrpSpPr/>
          <p:nvPr userDrawn="1"/>
        </p:nvGrpSpPr>
        <p:grpSpPr>
          <a:xfrm>
            <a:off x="887636" y="1351915"/>
            <a:ext cx="934314" cy="45719"/>
            <a:chOff x="887636" y="1148715"/>
            <a:chExt cx="934314" cy="45719"/>
          </a:xfrm>
        </p:grpSpPr>
        <p:sp>
          <p:nvSpPr>
            <p:cNvPr id="19" name="Freeform: Shape 18">
              <a:extLst>
                <a:ext uri="{FF2B5EF4-FFF2-40B4-BE49-F238E27FC236}">
                  <a16:creationId xmlns:a16="http://schemas.microsoft.com/office/drawing/2014/main" id="{0A13826B-34C5-479C-8458-F65CE7B8F186}"/>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0" name="Freeform: Shape 19">
              <a:extLst>
                <a:ext uri="{FF2B5EF4-FFF2-40B4-BE49-F238E27FC236}">
                  <a16:creationId xmlns:a16="http://schemas.microsoft.com/office/drawing/2014/main" id="{72728780-1FC3-4FC4-8777-D07E25E27B8C}"/>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2" name="Freeform: Shape 21">
              <a:extLst>
                <a:ext uri="{FF2B5EF4-FFF2-40B4-BE49-F238E27FC236}">
                  <a16:creationId xmlns:a16="http://schemas.microsoft.com/office/drawing/2014/main" id="{7D20C79A-B460-4ED3-B34F-4FA55140E88D}"/>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23" name="Content Placeholder 11">
            <a:extLst>
              <a:ext uri="{FF2B5EF4-FFF2-40B4-BE49-F238E27FC236}">
                <a16:creationId xmlns:a16="http://schemas.microsoft.com/office/drawing/2014/main" id="{4DB94219-B6DB-4B20-85E4-B3D6493A4646}"/>
              </a:ext>
            </a:extLst>
          </p:cNvPr>
          <p:cNvSpPr>
            <a:spLocks noGrp="1"/>
          </p:cNvSpPr>
          <p:nvPr>
            <p:ph sz="quarter" idx="14"/>
          </p:nvPr>
        </p:nvSpPr>
        <p:spPr>
          <a:xfrm>
            <a:off x="803729" y="1042673"/>
            <a:ext cx="10584542" cy="327019"/>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391452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1200" fill="hold"/>
                                        <p:tgtEl>
                                          <p:spTgt spid="23"/>
                                        </p:tgtEl>
                                        <p:attrNameLst>
                                          <p:attrName>ppt_x</p:attrName>
                                        </p:attrNameLst>
                                      </p:cBhvr>
                                      <p:tavLst>
                                        <p:tav tm="0">
                                          <p:val>
                                            <p:strVal val="0-#ppt_w/2"/>
                                          </p:val>
                                        </p:tav>
                                        <p:tav tm="100000">
                                          <p:val>
                                            <p:strVal val="#ppt_x"/>
                                          </p:val>
                                        </p:tav>
                                      </p:tavLst>
                                    </p:anim>
                                    <p:anim calcmode="lin" valueType="num">
                                      <p:cBhvr additive="base">
                                        <p:cTn id="12" dur="1200" fill="hold"/>
                                        <p:tgtEl>
                                          <p:spTgt spid="23"/>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2" presetClass="entr" presetSubtype="2" decel="100000" fill="hold" grpId="0" nodeType="withEffect" nodePh="1">
                                  <p:stCondLst>
                                    <p:cond delay="0"/>
                                  </p:stCondLst>
                                  <p:endCondLst>
                                    <p:cond evt="begin" delay="0">
                                      <p:tn val="16"/>
                                    </p:cond>
                                  </p:end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1000" fill="hold"/>
                                        <p:tgtEl>
                                          <p:spTgt spid="21"/>
                                        </p:tgtEl>
                                        <p:attrNameLst>
                                          <p:attrName>ppt_x</p:attrName>
                                        </p:attrNameLst>
                                      </p:cBhvr>
                                      <p:tavLst>
                                        <p:tav tm="0">
                                          <p:val>
                                            <p:strVal val="1+#ppt_w/2"/>
                                          </p:val>
                                        </p:tav>
                                        <p:tav tm="100000">
                                          <p:val>
                                            <p:strVal val="#ppt_x"/>
                                          </p:val>
                                        </p:tav>
                                      </p:tavLst>
                                    </p:anim>
                                    <p:anim calcmode="lin" valueType="num">
                                      <p:cBhvr additive="base">
                                        <p:cTn id="19" dur="1000" fill="hold"/>
                                        <p:tgtEl>
                                          <p:spTgt spid="21"/>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50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1000" fill="hold"/>
                                        <p:tgtEl>
                                          <p:spTgt spid="11"/>
                                        </p:tgtEl>
                                        <p:attrNameLst>
                                          <p:attrName>ppt_x</p:attrName>
                                        </p:attrNameLst>
                                      </p:cBhvr>
                                      <p:tavLst>
                                        <p:tav tm="0">
                                          <p:val>
                                            <p:strVal val="1+#ppt_w/2"/>
                                          </p:val>
                                        </p:tav>
                                        <p:tav tm="100000">
                                          <p:val>
                                            <p:strVal val="#ppt_x"/>
                                          </p:val>
                                        </p:tav>
                                      </p:tavLst>
                                    </p:anim>
                                    <p:anim calcmode="lin" valueType="num">
                                      <p:cBhvr additive="base">
                                        <p:cTn id="23" dur="1000" fill="hold"/>
                                        <p:tgtEl>
                                          <p:spTgt spid="11"/>
                                        </p:tgtEl>
                                        <p:attrNameLst>
                                          <p:attrName>ppt_y</p:attrName>
                                        </p:attrNameLst>
                                      </p:cBhvr>
                                      <p:tavLst>
                                        <p:tav tm="0">
                                          <p:val>
                                            <p:strVal val="#ppt_y"/>
                                          </p:val>
                                        </p:tav>
                                        <p:tav tm="100000">
                                          <p:val>
                                            <p:strVal val="#ppt_y"/>
                                          </p:val>
                                        </p:tav>
                                      </p:tavLst>
                                    </p:anim>
                                  </p:childTnLst>
                                </p:cTn>
                              </p:par>
                              <p:par>
                                <p:cTn id="24" presetID="2" presetClass="entr" presetSubtype="2" decel="100000" fill="hold" grpId="0" nodeType="withEffect">
                                  <p:stCondLst>
                                    <p:cond delay="500"/>
                                  </p:stCondLst>
                                  <p:childTnLst>
                                    <p:set>
                                      <p:cBhvr>
                                        <p:cTn id="25" dur="1" fill="hold">
                                          <p:stCondLst>
                                            <p:cond delay="0"/>
                                          </p:stCondLst>
                                        </p:cTn>
                                        <p:tgtEl>
                                          <p:spTgt spid="14"/>
                                        </p:tgtEl>
                                        <p:attrNameLst>
                                          <p:attrName>style.visibility</p:attrName>
                                        </p:attrNameLst>
                                      </p:cBhvr>
                                      <p:to>
                                        <p:strVal val="visible"/>
                                      </p:to>
                                    </p:set>
                                    <p:anim calcmode="lin" valueType="num">
                                      <p:cBhvr additive="base">
                                        <p:cTn id="26" dur="1000" fill="hold"/>
                                        <p:tgtEl>
                                          <p:spTgt spid="14"/>
                                        </p:tgtEl>
                                        <p:attrNameLst>
                                          <p:attrName>ppt_x</p:attrName>
                                        </p:attrNameLst>
                                      </p:cBhvr>
                                      <p:tavLst>
                                        <p:tav tm="0">
                                          <p:val>
                                            <p:strVal val="1+#ppt_w/2"/>
                                          </p:val>
                                        </p:tav>
                                        <p:tav tm="100000">
                                          <p:val>
                                            <p:strVal val="#ppt_x"/>
                                          </p:val>
                                        </p:tav>
                                      </p:tavLst>
                                    </p:anim>
                                    <p:anim calcmode="lin" valueType="num">
                                      <p:cBhvr additive="base">
                                        <p:cTn id="27" dur="1000" fill="hold"/>
                                        <p:tgtEl>
                                          <p:spTgt spid="14"/>
                                        </p:tgtEl>
                                        <p:attrNameLst>
                                          <p:attrName>ppt_y</p:attrName>
                                        </p:attrNameLst>
                                      </p:cBhvr>
                                      <p:tavLst>
                                        <p:tav tm="0">
                                          <p:val>
                                            <p:strVal val="#ppt_y"/>
                                          </p:val>
                                        </p:tav>
                                        <p:tav tm="100000">
                                          <p:val>
                                            <p:strVal val="#ppt_y"/>
                                          </p:val>
                                        </p:tav>
                                      </p:tavLst>
                                    </p:anim>
                                  </p:childTnLst>
                                </p:cTn>
                              </p:par>
                              <p:par>
                                <p:cTn id="28" presetID="2" presetClass="entr" presetSubtype="2" decel="100000" fill="hold" grpId="0" nodeType="withEffect" nodePh="1">
                                  <p:stCondLst>
                                    <p:cond delay="500"/>
                                  </p:stCondLst>
                                  <p:endCondLst>
                                    <p:cond evt="begin" delay="0">
                                      <p:tn val="28"/>
                                    </p:cond>
                                  </p:endCondLst>
                                  <p:childTnLst>
                                    <p:set>
                                      <p:cBhvr>
                                        <p:cTn id="29" dur="1" fill="hold">
                                          <p:stCondLst>
                                            <p:cond delay="0"/>
                                          </p:stCondLst>
                                        </p:cTn>
                                        <p:tgtEl>
                                          <p:spTgt spid="18"/>
                                        </p:tgtEl>
                                        <p:attrNameLst>
                                          <p:attrName>style.visibility</p:attrName>
                                        </p:attrNameLst>
                                      </p:cBhvr>
                                      <p:to>
                                        <p:strVal val="visible"/>
                                      </p:to>
                                    </p:set>
                                    <p:anim calcmode="lin" valueType="num">
                                      <p:cBhvr additive="base">
                                        <p:cTn id="30" dur="1000" fill="hold"/>
                                        <p:tgtEl>
                                          <p:spTgt spid="18"/>
                                        </p:tgtEl>
                                        <p:attrNameLst>
                                          <p:attrName>ppt_x</p:attrName>
                                        </p:attrNameLst>
                                      </p:cBhvr>
                                      <p:tavLst>
                                        <p:tav tm="0">
                                          <p:val>
                                            <p:strVal val="1+#ppt_w/2"/>
                                          </p:val>
                                        </p:tav>
                                        <p:tav tm="100000">
                                          <p:val>
                                            <p:strVal val="#ppt_x"/>
                                          </p:val>
                                        </p:tav>
                                      </p:tavLst>
                                    </p:anim>
                                    <p:anim calcmode="lin" valueType="num">
                                      <p:cBhvr additive="base">
                                        <p:cTn id="31" dur="1000" fill="hold"/>
                                        <p:tgtEl>
                                          <p:spTgt spid="18"/>
                                        </p:tgtEl>
                                        <p:attrNameLst>
                                          <p:attrName>ppt_y</p:attrName>
                                        </p:attrNameLst>
                                      </p:cBhvr>
                                      <p:tavLst>
                                        <p:tav tm="0">
                                          <p:val>
                                            <p:strVal val="#ppt_y"/>
                                          </p:val>
                                        </p:tav>
                                        <p:tav tm="100000">
                                          <p:val>
                                            <p:strVal val="#ppt_y"/>
                                          </p:val>
                                        </p:tav>
                                      </p:tavLst>
                                    </p:anim>
                                  </p:childTnLst>
                                </p:cTn>
                              </p:par>
                              <p:par>
                                <p:cTn id="32" presetID="2" presetClass="entr" presetSubtype="8" decel="100000" fill="hold" grpId="0" nodeType="withEffect" nodePh="1">
                                  <p:stCondLst>
                                    <p:cond delay="500"/>
                                  </p:stCondLst>
                                  <p:endCondLst>
                                    <p:cond evt="begin" delay="0">
                                      <p:tn val="32"/>
                                    </p:cond>
                                  </p:endCondLst>
                                  <p:childTnLst>
                                    <p:set>
                                      <p:cBhvr>
                                        <p:cTn id="33" dur="1" fill="hold">
                                          <p:stCondLst>
                                            <p:cond delay="0"/>
                                          </p:stCondLst>
                                        </p:cTn>
                                        <p:tgtEl>
                                          <p:spTgt spid="17"/>
                                        </p:tgtEl>
                                        <p:attrNameLst>
                                          <p:attrName>style.visibility</p:attrName>
                                        </p:attrNameLst>
                                      </p:cBhvr>
                                      <p:to>
                                        <p:strVal val="visible"/>
                                      </p:to>
                                    </p:set>
                                    <p:anim calcmode="lin" valueType="num">
                                      <p:cBhvr additive="base">
                                        <p:cTn id="34" dur="1000" fill="hold"/>
                                        <p:tgtEl>
                                          <p:spTgt spid="17"/>
                                        </p:tgtEl>
                                        <p:attrNameLst>
                                          <p:attrName>ppt_x</p:attrName>
                                        </p:attrNameLst>
                                      </p:cBhvr>
                                      <p:tavLst>
                                        <p:tav tm="0">
                                          <p:val>
                                            <p:strVal val="0-#ppt_w/2"/>
                                          </p:val>
                                        </p:tav>
                                        <p:tav tm="100000">
                                          <p:val>
                                            <p:strVal val="#ppt_x"/>
                                          </p:val>
                                        </p:tav>
                                      </p:tavLst>
                                    </p:anim>
                                    <p:anim calcmode="lin" valueType="num">
                                      <p:cBhvr additive="base">
                                        <p:cTn id="35" dur="10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1" grpId="0"/>
      <p:bldP spid="11" grpId="0" animBg="1"/>
      <p:bldP spid="14" grpId="0" animBg="1"/>
      <p:bldP spid="15" grpId="0"/>
      <p:bldP spid="23" grpId="0">
        <p:tmplLst>
          <p:tmpl>
            <p:tnLst>
              <p:par>
                <p:cTn presetID="2" presetClass="entr" presetSubtype="8" decel="10000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1200" fill="hold"/>
                        <p:tgtEl>
                          <p:spTgt spid="23"/>
                        </p:tgtEl>
                        <p:attrNameLst>
                          <p:attrName>ppt_x</p:attrName>
                        </p:attrNameLst>
                      </p:cBhvr>
                      <p:tavLst>
                        <p:tav tm="0">
                          <p:val>
                            <p:strVal val="0-#ppt_w/2"/>
                          </p:val>
                        </p:tav>
                        <p:tav tm="100000">
                          <p:val>
                            <p:strVal val="#ppt_x"/>
                          </p:val>
                        </p:tav>
                      </p:tavLst>
                    </p:anim>
                    <p:anim calcmode="lin" valueType="num">
                      <p:cBhvr additive="base">
                        <p:cTn dur="1200" fill="hold"/>
                        <p:tgtEl>
                          <p:spTgt spid="23"/>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F96663-9BEA-41B3-A988-0C01532F1B17}"/>
              </a:ext>
            </a:extLst>
          </p:cNvPr>
          <p:cNvGrpSpPr/>
          <p:nvPr userDrawn="1"/>
        </p:nvGrpSpPr>
        <p:grpSpPr>
          <a:xfrm>
            <a:off x="0" y="-676286"/>
            <a:ext cx="12621785" cy="6198238"/>
            <a:chOff x="0" y="3448033"/>
            <a:chExt cx="6943888" cy="3409967"/>
          </a:xfrm>
          <a:solidFill>
            <a:schemeClr val="bg1">
              <a:lumMod val="95000"/>
            </a:schemeClr>
          </a:solidFill>
        </p:grpSpPr>
        <p:sp>
          <p:nvSpPr>
            <p:cNvPr id="19" name="Rectangle 18">
              <a:extLst>
                <a:ext uri="{FF2B5EF4-FFF2-40B4-BE49-F238E27FC236}">
                  <a16:creationId xmlns:a16="http://schemas.microsoft.com/office/drawing/2014/main" id="{5743D94D-0961-49A0-AC33-FF03F869E75F}"/>
                </a:ext>
              </a:extLst>
            </p:cNvPr>
            <p:cNvSpPr/>
            <p:nvPr/>
          </p:nvSpPr>
          <p:spPr>
            <a:xfrm>
              <a:off x="1" y="5355771"/>
              <a:ext cx="3533422" cy="15022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a:p>
          </p:txBody>
        </p:sp>
        <p:sp>
          <p:nvSpPr>
            <p:cNvPr id="20" name="Freeform: Shape 19">
              <a:extLst>
                <a:ext uri="{FF2B5EF4-FFF2-40B4-BE49-F238E27FC236}">
                  <a16:creationId xmlns:a16="http://schemas.microsoft.com/office/drawing/2014/main" id="{F363369F-63BF-479F-9CFD-175CCF0008C3}"/>
                </a:ext>
              </a:extLst>
            </p:cNvPr>
            <p:cNvSpPr/>
            <p:nvPr/>
          </p:nvSpPr>
          <p:spPr>
            <a:xfrm>
              <a:off x="0" y="3448033"/>
              <a:ext cx="6943888" cy="3409967"/>
            </a:xfrm>
            <a:custGeom>
              <a:avLst/>
              <a:gdLst>
                <a:gd name="connsiteX0" fmla="*/ 1869359 w 6943888"/>
                <a:gd name="connsiteY0" fmla="*/ 0 h 3409967"/>
                <a:gd name="connsiteX1" fmla="*/ 2386586 w 6943888"/>
                <a:gd name="connsiteY1" fmla="*/ 0 h 3409967"/>
                <a:gd name="connsiteX2" fmla="*/ 2470211 w 6943888"/>
                <a:gd name="connsiteY2" fmla="*/ 0 h 3409967"/>
                <a:gd name="connsiteX3" fmla="*/ 3904637 w 6943888"/>
                <a:gd name="connsiteY3" fmla="*/ 0 h 3409967"/>
                <a:gd name="connsiteX4" fmla="*/ 4421864 w 6943888"/>
                <a:gd name="connsiteY4" fmla="*/ 0 h 3409967"/>
                <a:gd name="connsiteX5" fmla="*/ 4505489 w 6943888"/>
                <a:gd name="connsiteY5" fmla="*/ 0 h 3409967"/>
                <a:gd name="connsiteX6" fmla="*/ 4908610 w 6943888"/>
                <a:gd name="connsiteY6" fmla="*/ 0 h 3409967"/>
                <a:gd name="connsiteX7" fmla="*/ 6943888 w 6943888"/>
                <a:gd name="connsiteY7" fmla="*/ 0 h 3409967"/>
                <a:gd name="connsiteX8" fmla="*/ 4382326 w 6943888"/>
                <a:gd name="connsiteY8" fmla="*/ 2561562 h 3409967"/>
                <a:gd name="connsiteX9" fmla="*/ 4382213 w 6943888"/>
                <a:gd name="connsiteY9" fmla="*/ 2561562 h 3409967"/>
                <a:gd name="connsiteX10" fmla="*/ 3533808 w 6943888"/>
                <a:gd name="connsiteY10" fmla="*/ 3409967 h 3409967"/>
                <a:gd name="connsiteX11" fmla="*/ 3533808 w 6943888"/>
                <a:gd name="connsiteY11" fmla="*/ 1869359 h 3409967"/>
                <a:gd name="connsiteX12" fmla="*/ 0 w 6943888"/>
                <a:gd name="connsiteY12" fmla="*/ 1869359 h 3409967"/>
                <a:gd name="connsiteX13" fmla="*/ 1869359 w 6943888"/>
                <a:gd name="connsiteY13" fmla="*/ 0 h 3409967"/>
                <a:gd name="connsiteX0" fmla="*/ 1869359 w 6943888"/>
                <a:gd name="connsiteY0" fmla="*/ 0 h 3436902"/>
                <a:gd name="connsiteX1" fmla="*/ 2386586 w 6943888"/>
                <a:gd name="connsiteY1" fmla="*/ 0 h 3436902"/>
                <a:gd name="connsiteX2" fmla="*/ 2470211 w 6943888"/>
                <a:gd name="connsiteY2" fmla="*/ 0 h 3436902"/>
                <a:gd name="connsiteX3" fmla="*/ 3904637 w 6943888"/>
                <a:gd name="connsiteY3" fmla="*/ 0 h 3436902"/>
                <a:gd name="connsiteX4" fmla="*/ 4421864 w 6943888"/>
                <a:gd name="connsiteY4" fmla="*/ 0 h 3436902"/>
                <a:gd name="connsiteX5" fmla="*/ 4505489 w 6943888"/>
                <a:gd name="connsiteY5" fmla="*/ 0 h 3436902"/>
                <a:gd name="connsiteX6" fmla="*/ 4908610 w 6943888"/>
                <a:gd name="connsiteY6" fmla="*/ 0 h 3436902"/>
                <a:gd name="connsiteX7" fmla="*/ 6943888 w 6943888"/>
                <a:gd name="connsiteY7" fmla="*/ 0 h 3436902"/>
                <a:gd name="connsiteX8" fmla="*/ 4382326 w 6943888"/>
                <a:gd name="connsiteY8" fmla="*/ 2561562 h 3436902"/>
                <a:gd name="connsiteX9" fmla="*/ 4382213 w 6943888"/>
                <a:gd name="connsiteY9" fmla="*/ 2561562 h 3436902"/>
                <a:gd name="connsiteX10" fmla="*/ 3533808 w 6943888"/>
                <a:gd name="connsiteY10" fmla="*/ 3409967 h 3436902"/>
                <a:gd name="connsiteX11" fmla="*/ 6837 w 6943888"/>
                <a:gd name="connsiteY11" fmla="*/ 3436902 h 3436902"/>
                <a:gd name="connsiteX12" fmla="*/ 0 w 6943888"/>
                <a:gd name="connsiteY12" fmla="*/ 1869359 h 3436902"/>
                <a:gd name="connsiteX13" fmla="*/ 1869359 w 6943888"/>
                <a:gd name="connsiteY13" fmla="*/ 0 h 3436902"/>
                <a:gd name="connsiteX0" fmla="*/ 1869359 w 6943888"/>
                <a:gd name="connsiteY0" fmla="*/ 0 h 3409967"/>
                <a:gd name="connsiteX1" fmla="*/ 2386586 w 6943888"/>
                <a:gd name="connsiteY1" fmla="*/ 0 h 3409967"/>
                <a:gd name="connsiteX2" fmla="*/ 2470211 w 6943888"/>
                <a:gd name="connsiteY2" fmla="*/ 0 h 3409967"/>
                <a:gd name="connsiteX3" fmla="*/ 3904637 w 6943888"/>
                <a:gd name="connsiteY3" fmla="*/ 0 h 3409967"/>
                <a:gd name="connsiteX4" fmla="*/ 4421864 w 6943888"/>
                <a:gd name="connsiteY4" fmla="*/ 0 h 3409967"/>
                <a:gd name="connsiteX5" fmla="*/ 4505489 w 6943888"/>
                <a:gd name="connsiteY5" fmla="*/ 0 h 3409967"/>
                <a:gd name="connsiteX6" fmla="*/ 4908610 w 6943888"/>
                <a:gd name="connsiteY6" fmla="*/ 0 h 3409967"/>
                <a:gd name="connsiteX7" fmla="*/ 6943888 w 6943888"/>
                <a:gd name="connsiteY7" fmla="*/ 0 h 3409967"/>
                <a:gd name="connsiteX8" fmla="*/ 4382326 w 6943888"/>
                <a:gd name="connsiteY8" fmla="*/ 2561562 h 3409967"/>
                <a:gd name="connsiteX9" fmla="*/ 4382213 w 6943888"/>
                <a:gd name="connsiteY9" fmla="*/ 2561562 h 3409967"/>
                <a:gd name="connsiteX10" fmla="*/ 3533808 w 6943888"/>
                <a:gd name="connsiteY10" fmla="*/ 3409967 h 3409967"/>
                <a:gd name="connsiteX11" fmla="*/ 21351 w 6943888"/>
                <a:gd name="connsiteY11" fmla="*/ 3378845 h 3409967"/>
                <a:gd name="connsiteX12" fmla="*/ 0 w 6943888"/>
                <a:gd name="connsiteY12" fmla="*/ 1869359 h 3409967"/>
                <a:gd name="connsiteX13" fmla="*/ 1869359 w 6943888"/>
                <a:gd name="connsiteY13" fmla="*/ 0 h 34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43888" h="3409967">
                  <a:moveTo>
                    <a:pt x="1869359" y="0"/>
                  </a:moveTo>
                  <a:lnTo>
                    <a:pt x="2386586" y="0"/>
                  </a:lnTo>
                  <a:lnTo>
                    <a:pt x="2470211" y="0"/>
                  </a:lnTo>
                  <a:lnTo>
                    <a:pt x="3904637" y="0"/>
                  </a:lnTo>
                  <a:lnTo>
                    <a:pt x="4421864" y="0"/>
                  </a:lnTo>
                  <a:lnTo>
                    <a:pt x="4505489" y="0"/>
                  </a:lnTo>
                  <a:lnTo>
                    <a:pt x="4908610" y="0"/>
                  </a:lnTo>
                  <a:lnTo>
                    <a:pt x="6943888" y="0"/>
                  </a:lnTo>
                  <a:lnTo>
                    <a:pt x="4382326" y="2561562"/>
                  </a:lnTo>
                  <a:lnTo>
                    <a:pt x="4382213" y="2561562"/>
                  </a:lnTo>
                  <a:lnTo>
                    <a:pt x="3533808" y="3409967"/>
                  </a:lnTo>
                  <a:lnTo>
                    <a:pt x="21351" y="3378845"/>
                  </a:lnTo>
                  <a:lnTo>
                    <a:pt x="0" y="1869359"/>
                  </a:lnTo>
                  <a:lnTo>
                    <a:pt x="186935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grpSp>
      <p:grpSp>
        <p:nvGrpSpPr>
          <p:cNvPr id="11" name="Group 10">
            <a:extLst>
              <a:ext uri="{FF2B5EF4-FFF2-40B4-BE49-F238E27FC236}">
                <a16:creationId xmlns:a16="http://schemas.microsoft.com/office/drawing/2014/main" id="{F3083203-7E57-4E19-9126-735B9BBAAA8D}"/>
              </a:ext>
            </a:extLst>
          </p:cNvPr>
          <p:cNvGrpSpPr/>
          <p:nvPr userDrawn="1"/>
        </p:nvGrpSpPr>
        <p:grpSpPr>
          <a:xfrm>
            <a:off x="0" y="3448033"/>
            <a:ext cx="6943888" cy="3409967"/>
            <a:chOff x="0" y="3448033"/>
            <a:chExt cx="6943888" cy="3409967"/>
          </a:xfrm>
        </p:grpSpPr>
        <p:sp>
          <p:nvSpPr>
            <p:cNvPr id="14" name="Rectangle 13">
              <a:extLst>
                <a:ext uri="{FF2B5EF4-FFF2-40B4-BE49-F238E27FC236}">
                  <a16:creationId xmlns:a16="http://schemas.microsoft.com/office/drawing/2014/main" id="{A119ABDA-D3BC-41E0-BC5C-685E67A07218}"/>
                </a:ext>
              </a:extLst>
            </p:cNvPr>
            <p:cNvSpPr/>
            <p:nvPr/>
          </p:nvSpPr>
          <p:spPr>
            <a:xfrm>
              <a:off x="1" y="5355771"/>
              <a:ext cx="3536950" cy="15022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d-ID" dirty="0"/>
            </a:p>
          </p:txBody>
        </p:sp>
        <p:sp>
          <p:nvSpPr>
            <p:cNvPr id="15" name="Freeform: Shape 14">
              <a:extLst>
                <a:ext uri="{FF2B5EF4-FFF2-40B4-BE49-F238E27FC236}">
                  <a16:creationId xmlns:a16="http://schemas.microsoft.com/office/drawing/2014/main" id="{3FA4A73D-D982-4FD0-B941-711F1D27737F}"/>
                </a:ext>
              </a:extLst>
            </p:cNvPr>
            <p:cNvSpPr/>
            <p:nvPr/>
          </p:nvSpPr>
          <p:spPr>
            <a:xfrm>
              <a:off x="0" y="3448033"/>
              <a:ext cx="6943888" cy="3409967"/>
            </a:xfrm>
            <a:custGeom>
              <a:avLst/>
              <a:gdLst>
                <a:gd name="connsiteX0" fmla="*/ 1869359 w 6943888"/>
                <a:gd name="connsiteY0" fmla="*/ 0 h 3409967"/>
                <a:gd name="connsiteX1" fmla="*/ 2386586 w 6943888"/>
                <a:gd name="connsiteY1" fmla="*/ 0 h 3409967"/>
                <a:gd name="connsiteX2" fmla="*/ 2470211 w 6943888"/>
                <a:gd name="connsiteY2" fmla="*/ 0 h 3409967"/>
                <a:gd name="connsiteX3" fmla="*/ 3904637 w 6943888"/>
                <a:gd name="connsiteY3" fmla="*/ 0 h 3409967"/>
                <a:gd name="connsiteX4" fmla="*/ 4421864 w 6943888"/>
                <a:gd name="connsiteY4" fmla="*/ 0 h 3409967"/>
                <a:gd name="connsiteX5" fmla="*/ 4505489 w 6943888"/>
                <a:gd name="connsiteY5" fmla="*/ 0 h 3409967"/>
                <a:gd name="connsiteX6" fmla="*/ 4908610 w 6943888"/>
                <a:gd name="connsiteY6" fmla="*/ 0 h 3409967"/>
                <a:gd name="connsiteX7" fmla="*/ 6943888 w 6943888"/>
                <a:gd name="connsiteY7" fmla="*/ 0 h 3409967"/>
                <a:gd name="connsiteX8" fmla="*/ 4382326 w 6943888"/>
                <a:gd name="connsiteY8" fmla="*/ 2561562 h 3409967"/>
                <a:gd name="connsiteX9" fmla="*/ 4382213 w 6943888"/>
                <a:gd name="connsiteY9" fmla="*/ 2561562 h 3409967"/>
                <a:gd name="connsiteX10" fmla="*/ 3533808 w 6943888"/>
                <a:gd name="connsiteY10" fmla="*/ 3409967 h 3409967"/>
                <a:gd name="connsiteX11" fmla="*/ 3533808 w 6943888"/>
                <a:gd name="connsiteY11" fmla="*/ 1869359 h 3409967"/>
                <a:gd name="connsiteX12" fmla="*/ 0 w 6943888"/>
                <a:gd name="connsiteY12" fmla="*/ 1869359 h 3409967"/>
                <a:gd name="connsiteX13" fmla="*/ 1869359 w 6943888"/>
                <a:gd name="connsiteY13" fmla="*/ 0 h 3409967"/>
                <a:gd name="connsiteX0" fmla="*/ 1869359 w 6943888"/>
                <a:gd name="connsiteY0" fmla="*/ 0 h 3436902"/>
                <a:gd name="connsiteX1" fmla="*/ 2386586 w 6943888"/>
                <a:gd name="connsiteY1" fmla="*/ 0 h 3436902"/>
                <a:gd name="connsiteX2" fmla="*/ 2470211 w 6943888"/>
                <a:gd name="connsiteY2" fmla="*/ 0 h 3436902"/>
                <a:gd name="connsiteX3" fmla="*/ 3904637 w 6943888"/>
                <a:gd name="connsiteY3" fmla="*/ 0 h 3436902"/>
                <a:gd name="connsiteX4" fmla="*/ 4421864 w 6943888"/>
                <a:gd name="connsiteY4" fmla="*/ 0 h 3436902"/>
                <a:gd name="connsiteX5" fmla="*/ 4505489 w 6943888"/>
                <a:gd name="connsiteY5" fmla="*/ 0 h 3436902"/>
                <a:gd name="connsiteX6" fmla="*/ 4908610 w 6943888"/>
                <a:gd name="connsiteY6" fmla="*/ 0 h 3436902"/>
                <a:gd name="connsiteX7" fmla="*/ 6943888 w 6943888"/>
                <a:gd name="connsiteY7" fmla="*/ 0 h 3436902"/>
                <a:gd name="connsiteX8" fmla="*/ 4382326 w 6943888"/>
                <a:gd name="connsiteY8" fmla="*/ 2561562 h 3436902"/>
                <a:gd name="connsiteX9" fmla="*/ 4382213 w 6943888"/>
                <a:gd name="connsiteY9" fmla="*/ 2561562 h 3436902"/>
                <a:gd name="connsiteX10" fmla="*/ 3533808 w 6943888"/>
                <a:gd name="connsiteY10" fmla="*/ 3409967 h 3436902"/>
                <a:gd name="connsiteX11" fmla="*/ 6837 w 6943888"/>
                <a:gd name="connsiteY11" fmla="*/ 3436902 h 3436902"/>
                <a:gd name="connsiteX12" fmla="*/ 0 w 6943888"/>
                <a:gd name="connsiteY12" fmla="*/ 1869359 h 3436902"/>
                <a:gd name="connsiteX13" fmla="*/ 1869359 w 6943888"/>
                <a:gd name="connsiteY13" fmla="*/ 0 h 3436902"/>
                <a:gd name="connsiteX0" fmla="*/ 1869359 w 6943888"/>
                <a:gd name="connsiteY0" fmla="*/ 0 h 3409967"/>
                <a:gd name="connsiteX1" fmla="*/ 2386586 w 6943888"/>
                <a:gd name="connsiteY1" fmla="*/ 0 h 3409967"/>
                <a:gd name="connsiteX2" fmla="*/ 2470211 w 6943888"/>
                <a:gd name="connsiteY2" fmla="*/ 0 h 3409967"/>
                <a:gd name="connsiteX3" fmla="*/ 3904637 w 6943888"/>
                <a:gd name="connsiteY3" fmla="*/ 0 h 3409967"/>
                <a:gd name="connsiteX4" fmla="*/ 4421864 w 6943888"/>
                <a:gd name="connsiteY4" fmla="*/ 0 h 3409967"/>
                <a:gd name="connsiteX5" fmla="*/ 4505489 w 6943888"/>
                <a:gd name="connsiteY5" fmla="*/ 0 h 3409967"/>
                <a:gd name="connsiteX6" fmla="*/ 4908610 w 6943888"/>
                <a:gd name="connsiteY6" fmla="*/ 0 h 3409967"/>
                <a:gd name="connsiteX7" fmla="*/ 6943888 w 6943888"/>
                <a:gd name="connsiteY7" fmla="*/ 0 h 3409967"/>
                <a:gd name="connsiteX8" fmla="*/ 4382326 w 6943888"/>
                <a:gd name="connsiteY8" fmla="*/ 2561562 h 3409967"/>
                <a:gd name="connsiteX9" fmla="*/ 4382213 w 6943888"/>
                <a:gd name="connsiteY9" fmla="*/ 2561562 h 3409967"/>
                <a:gd name="connsiteX10" fmla="*/ 3533808 w 6943888"/>
                <a:gd name="connsiteY10" fmla="*/ 3409967 h 3409967"/>
                <a:gd name="connsiteX11" fmla="*/ 21351 w 6943888"/>
                <a:gd name="connsiteY11" fmla="*/ 3378845 h 3409967"/>
                <a:gd name="connsiteX12" fmla="*/ 0 w 6943888"/>
                <a:gd name="connsiteY12" fmla="*/ 1869359 h 3409967"/>
                <a:gd name="connsiteX13" fmla="*/ 1869359 w 6943888"/>
                <a:gd name="connsiteY13" fmla="*/ 0 h 34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43888" h="3409967">
                  <a:moveTo>
                    <a:pt x="1869359" y="0"/>
                  </a:moveTo>
                  <a:lnTo>
                    <a:pt x="2386586" y="0"/>
                  </a:lnTo>
                  <a:lnTo>
                    <a:pt x="2470211" y="0"/>
                  </a:lnTo>
                  <a:lnTo>
                    <a:pt x="3904637" y="0"/>
                  </a:lnTo>
                  <a:lnTo>
                    <a:pt x="4421864" y="0"/>
                  </a:lnTo>
                  <a:lnTo>
                    <a:pt x="4505489" y="0"/>
                  </a:lnTo>
                  <a:lnTo>
                    <a:pt x="4908610" y="0"/>
                  </a:lnTo>
                  <a:lnTo>
                    <a:pt x="6943888" y="0"/>
                  </a:lnTo>
                  <a:lnTo>
                    <a:pt x="4382326" y="2561562"/>
                  </a:lnTo>
                  <a:lnTo>
                    <a:pt x="4382213" y="2561562"/>
                  </a:lnTo>
                  <a:lnTo>
                    <a:pt x="3533808" y="3409967"/>
                  </a:lnTo>
                  <a:lnTo>
                    <a:pt x="21351" y="3378845"/>
                  </a:lnTo>
                  <a:lnTo>
                    <a:pt x="0" y="1869359"/>
                  </a:lnTo>
                  <a:lnTo>
                    <a:pt x="1869359"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grpSp>
      <p:sp>
        <p:nvSpPr>
          <p:cNvPr id="18" name="Picture Placeholder 17">
            <a:extLst>
              <a:ext uri="{FF2B5EF4-FFF2-40B4-BE49-F238E27FC236}">
                <a16:creationId xmlns:a16="http://schemas.microsoft.com/office/drawing/2014/main" id="{0422EFFD-E808-4470-AD88-79B1C1FB7C31}"/>
              </a:ext>
            </a:extLst>
          </p:cNvPr>
          <p:cNvSpPr>
            <a:spLocks noGrp="1"/>
          </p:cNvSpPr>
          <p:nvPr>
            <p:ph type="pic" sz="quarter" idx="12"/>
          </p:nvPr>
        </p:nvSpPr>
        <p:spPr>
          <a:xfrm>
            <a:off x="1603990" y="2238386"/>
            <a:ext cx="8688597" cy="2914630"/>
          </a:xfrm>
          <a:custGeom>
            <a:avLst/>
            <a:gdLst>
              <a:gd name="connsiteX0" fmla="*/ 2561562 w 7636091"/>
              <a:gd name="connsiteY0" fmla="*/ 0 h 2561562"/>
              <a:gd name="connsiteX1" fmla="*/ 3078789 w 7636091"/>
              <a:gd name="connsiteY1" fmla="*/ 0 h 2561562"/>
              <a:gd name="connsiteX2" fmla="*/ 3162414 w 7636091"/>
              <a:gd name="connsiteY2" fmla="*/ 0 h 2561562"/>
              <a:gd name="connsiteX3" fmla="*/ 4596840 w 7636091"/>
              <a:gd name="connsiteY3" fmla="*/ 0 h 2561562"/>
              <a:gd name="connsiteX4" fmla="*/ 5114067 w 7636091"/>
              <a:gd name="connsiteY4" fmla="*/ 0 h 2561562"/>
              <a:gd name="connsiteX5" fmla="*/ 5197692 w 7636091"/>
              <a:gd name="connsiteY5" fmla="*/ 0 h 2561562"/>
              <a:gd name="connsiteX6" fmla="*/ 5600813 w 7636091"/>
              <a:gd name="connsiteY6" fmla="*/ 0 h 2561562"/>
              <a:gd name="connsiteX7" fmla="*/ 7636091 w 7636091"/>
              <a:gd name="connsiteY7" fmla="*/ 0 h 2561562"/>
              <a:gd name="connsiteX8" fmla="*/ 5074529 w 7636091"/>
              <a:gd name="connsiteY8" fmla="*/ 2561562 h 2561562"/>
              <a:gd name="connsiteX9" fmla="*/ 4557302 w 7636091"/>
              <a:gd name="connsiteY9" fmla="*/ 2561562 h 2561562"/>
              <a:gd name="connsiteX10" fmla="*/ 4473677 w 7636091"/>
              <a:gd name="connsiteY10" fmla="*/ 2561562 h 2561562"/>
              <a:gd name="connsiteX11" fmla="*/ 3039251 w 7636091"/>
              <a:gd name="connsiteY11" fmla="*/ 2561562 h 2561562"/>
              <a:gd name="connsiteX12" fmla="*/ 2522024 w 7636091"/>
              <a:gd name="connsiteY12" fmla="*/ 2561562 h 2561562"/>
              <a:gd name="connsiteX13" fmla="*/ 2438399 w 7636091"/>
              <a:gd name="connsiteY13" fmla="*/ 2561562 h 2561562"/>
              <a:gd name="connsiteX14" fmla="*/ 2035278 w 7636091"/>
              <a:gd name="connsiteY14" fmla="*/ 2561562 h 2561562"/>
              <a:gd name="connsiteX15" fmla="*/ 0 w 7636091"/>
              <a:gd name="connsiteY15" fmla="*/ 2561562 h 25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36091" h="2561562">
                <a:moveTo>
                  <a:pt x="2561562" y="0"/>
                </a:moveTo>
                <a:lnTo>
                  <a:pt x="3078789" y="0"/>
                </a:lnTo>
                <a:lnTo>
                  <a:pt x="3162414" y="0"/>
                </a:lnTo>
                <a:lnTo>
                  <a:pt x="4596840" y="0"/>
                </a:lnTo>
                <a:lnTo>
                  <a:pt x="5114067" y="0"/>
                </a:lnTo>
                <a:lnTo>
                  <a:pt x="5197692" y="0"/>
                </a:lnTo>
                <a:lnTo>
                  <a:pt x="5600813" y="0"/>
                </a:lnTo>
                <a:lnTo>
                  <a:pt x="7636091" y="0"/>
                </a:lnTo>
                <a:lnTo>
                  <a:pt x="5074529" y="2561562"/>
                </a:lnTo>
                <a:lnTo>
                  <a:pt x="4557302" y="2561562"/>
                </a:lnTo>
                <a:lnTo>
                  <a:pt x="4473677" y="2561562"/>
                </a:lnTo>
                <a:lnTo>
                  <a:pt x="3039251" y="2561562"/>
                </a:lnTo>
                <a:lnTo>
                  <a:pt x="2522024" y="2561562"/>
                </a:lnTo>
                <a:lnTo>
                  <a:pt x="2438399" y="2561562"/>
                </a:lnTo>
                <a:lnTo>
                  <a:pt x="2035278" y="2561562"/>
                </a:lnTo>
                <a:lnTo>
                  <a:pt x="0" y="2561562"/>
                </a:lnTo>
                <a:close/>
              </a:path>
            </a:pathLst>
          </a:custGeom>
          <a:solidFill>
            <a:schemeClr val="bg1">
              <a:lumMod val="95000"/>
            </a:schemeClr>
          </a:solidFill>
          <a:effectLst>
            <a:outerShdw blurRad="635000" dist="1282700" dir="8940000" algn="tr" rotWithShape="0">
              <a:prstClr val="black">
                <a:alpha val="30000"/>
              </a:prstClr>
            </a:outerShdw>
          </a:effectLst>
        </p:spPr>
        <p:txBody>
          <a:bodyPr wrap="square" anchor="ctr">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618018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1+#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0-#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000" fill="hold"/>
                                        <p:tgtEl>
                                          <p:spTgt spid="16"/>
                                        </p:tgtEl>
                                        <p:attrNameLst>
                                          <p:attrName>ppt_x</p:attrName>
                                        </p:attrNameLst>
                                      </p:cBhvr>
                                      <p:tavLst>
                                        <p:tav tm="0">
                                          <p:val>
                                            <p:strVal val="0-#ppt_w/2"/>
                                          </p:val>
                                        </p:tav>
                                        <p:tav tm="100000">
                                          <p:val>
                                            <p:strVal val="#ppt_x"/>
                                          </p:val>
                                        </p:tav>
                                      </p:tavLst>
                                    </p:anim>
                                    <p:anim calcmode="lin" valueType="num">
                                      <p:cBhvr additive="base">
                                        <p:cTn id="16"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BFD8606E-AD0F-465F-8445-74420D5061C2}"/>
              </a:ext>
            </a:extLst>
          </p:cNvPr>
          <p:cNvSpPr>
            <a:spLocks noGrp="1"/>
          </p:cNvSpPr>
          <p:nvPr>
            <p:ph type="title"/>
          </p:nvPr>
        </p:nvSpPr>
        <p:spPr>
          <a:xfrm>
            <a:off x="803729" y="568326"/>
            <a:ext cx="10584543" cy="492124"/>
          </a:xfrm>
          <a:prstGeom prst="rect">
            <a:avLst/>
          </a:prstGeom>
        </p:spPr>
        <p:txBody>
          <a:bodyPr anchor="ctr"/>
          <a:lstStyle>
            <a:lvl1pPr algn="ctr">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11" name="Group 10">
            <a:extLst>
              <a:ext uri="{FF2B5EF4-FFF2-40B4-BE49-F238E27FC236}">
                <a16:creationId xmlns:a16="http://schemas.microsoft.com/office/drawing/2014/main" id="{E5F8770A-A9A7-4A30-9D14-0135899268B3}"/>
              </a:ext>
            </a:extLst>
          </p:cNvPr>
          <p:cNvGrpSpPr/>
          <p:nvPr userDrawn="1"/>
        </p:nvGrpSpPr>
        <p:grpSpPr>
          <a:xfrm>
            <a:off x="5628843" y="1351915"/>
            <a:ext cx="934314" cy="45719"/>
            <a:chOff x="887636" y="1148715"/>
            <a:chExt cx="934314" cy="45719"/>
          </a:xfrm>
        </p:grpSpPr>
        <p:sp>
          <p:nvSpPr>
            <p:cNvPr id="14" name="Freeform: Shape 13">
              <a:extLst>
                <a:ext uri="{FF2B5EF4-FFF2-40B4-BE49-F238E27FC236}">
                  <a16:creationId xmlns:a16="http://schemas.microsoft.com/office/drawing/2014/main" id="{90050EA8-0B95-464B-A315-F106F5D4F105}"/>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5" name="Freeform: Shape 14">
              <a:extLst>
                <a:ext uri="{FF2B5EF4-FFF2-40B4-BE49-F238E27FC236}">
                  <a16:creationId xmlns:a16="http://schemas.microsoft.com/office/drawing/2014/main" id="{CC3A0052-66A0-4D3D-9796-E279E059E03C}"/>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6" name="Freeform: Shape 15">
              <a:extLst>
                <a:ext uri="{FF2B5EF4-FFF2-40B4-BE49-F238E27FC236}">
                  <a16:creationId xmlns:a16="http://schemas.microsoft.com/office/drawing/2014/main" id="{02EA3C3F-C6CD-4B84-A89C-8DE8012F3E6A}"/>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17" name="Content Placeholder 11">
            <a:extLst>
              <a:ext uri="{FF2B5EF4-FFF2-40B4-BE49-F238E27FC236}">
                <a16:creationId xmlns:a16="http://schemas.microsoft.com/office/drawing/2014/main" id="{FB9477EE-23EE-4BF6-9422-099631546375}"/>
              </a:ext>
            </a:extLst>
          </p:cNvPr>
          <p:cNvSpPr>
            <a:spLocks noGrp="1"/>
          </p:cNvSpPr>
          <p:nvPr>
            <p:ph sz="quarter" idx="11"/>
          </p:nvPr>
        </p:nvSpPr>
        <p:spPr>
          <a:xfrm>
            <a:off x="803729" y="1042673"/>
            <a:ext cx="10584542" cy="327019"/>
          </a:xfrm>
          <a:prstGeom prst="rect">
            <a:avLst/>
          </a:prstGeom>
        </p:spPr>
        <p:txBody>
          <a:bodyPr anchor="t"/>
          <a:lstStyle>
            <a:lvl1pPr marL="0" indent="0" algn="ctr">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2514766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200" fill="hold"/>
                                        <p:tgtEl>
                                          <p:spTgt spid="17"/>
                                        </p:tgtEl>
                                        <p:attrNameLst>
                                          <p:attrName>ppt_x</p:attrName>
                                        </p:attrNameLst>
                                      </p:cBhvr>
                                      <p:tavLst>
                                        <p:tav tm="0">
                                          <p:val>
                                            <p:strVal val="#ppt_x"/>
                                          </p:val>
                                        </p:tav>
                                        <p:tav tm="100000">
                                          <p:val>
                                            <p:strVal val="#ppt_x"/>
                                          </p:val>
                                        </p:tav>
                                      </p:tavLst>
                                    </p:anim>
                                    <p:anim calcmode="lin" valueType="num">
                                      <p:cBhvr additive="base">
                                        <p:cTn id="12" dur="1200" fill="hold"/>
                                        <p:tgtEl>
                                          <p:spTgt spid="17"/>
                                        </p:tgtEl>
                                        <p:attrNameLst>
                                          <p:attrName>ppt_y</p:attrName>
                                        </p:attrNameLst>
                                      </p:cBhvr>
                                      <p:tavLst>
                                        <p:tav tm="0">
                                          <p:val>
                                            <p:strVal val="0-#ppt_h/2"/>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p:tmplLst>
          <p:tmpl>
            <p:tnLst>
              <p:par>
                <p:cTn presetID="2" presetClass="entr" presetSubtype="1" decel="10000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1200" fill="hold"/>
                        <p:tgtEl>
                          <p:spTgt spid="17"/>
                        </p:tgtEl>
                        <p:attrNameLst>
                          <p:attrName>ppt_x</p:attrName>
                        </p:attrNameLst>
                      </p:cBhvr>
                      <p:tavLst>
                        <p:tav tm="0">
                          <p:val>
                            <p:strVal val="#ppt_x"/>
                          </p:val>
                        </p:tav>
                        <p:tav tm="100000">
                          <p:val>
                            <p:strVal val="#ppt_x"/>
                          </p:val>
                        </p:tav>
                      </p:tavLst>
                    </p:anim>
                    <p:anim calcmode="lin" valueType="num">
                      <p:cBhvr additive="base">
                        <p:cTn dur="1200" fill="hold"/>
                        <p:tgtEl>
                          <p:spTgt spid="17"/>
                        </p:tgtEl>
                        <p:attrNameLst>
                          <p:attrName>ppt_y</p:attrName>
                        </p:attrNameLst>
                      </p:cBhvr>
                      <p:tavLst>
                        <p:tav tm="0">
                          <p:val>
                            <p:strVal val="0-#ppt_h/2"/>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12D18DE-0E14-4659-890E-8F74D9A88389}"/>
              </a:ext>
            </a:extLst>
          </p:cNvPr>
          <p:cNvSpPr>
            <a:spLocks noGrp="1"/>
          </p:cNvSpPr>
          <p:nvPr>
            <p:ph type="pic" sz="quarter" idx="10"/>
          </p:nvPr>
        </p:nvSpPr>
        <p:spPr>
          <a:xfrm>
            <a:off x="7619750" y="2221829"/>
            <a:ext cx="3088108" cy="3088108"/>
          </a:xfrm>
          <a:prstGeom prst="ellipse">
            <a:avLst/>
          </a:prstGeom>
        </p:spPr>
        <p:txBody>
          <a:bodyPr wrap="square">
            <a:noAutofit/>
          </a:bodyPr>
          <a:lstStyle>
            <a:lvl1pPr marL="0" indent="0" algn="ctr">
              <a:buNone/>
              <a:defRPr>
                <a:solidFill>
                  <a:schemeClr val="bg1">
                    <a:lumMod val="75000"/>
                  </a:schemeClr>
                </a:solidFill>
              </a:defRPr>
            </a:lvl1pPr>
          </a:lstStyle>
          <a:p>
            <a:endParaRPr lang="id-ID"/>
          </a:p>
        </p:txBody>
      </p:sp>
      <p:sp>
        <p:nvSpPr>
          <p:cNvPr id="6" name="Title 2">
            <a:extLst>
              <a:ext uri="{FF2B5EF4-FFF2-40B4-BE49-F238E27FC236}">
                <a16:creationId xmlns:a16="http://schemas.microsoft.com/office/drawing/2014/main" id="{9AB17D49-BDCC-4214-B2B1-59F3C01F1E80}"/>
              </a:ext>
            </a:extLst>
          </p:cNvPr>
          <p:cNvSpPr>
            <a:spLocks noGrp="1"/>
          </p:cNvSpPr>
          <p:nvPr>
            <p:ph type="title"/>
          </p:nvPr>
        </p:nvSpPr>
        <p:spPr>
          <a:xfrm>
            <a:off x="803729" y="568326"/>
            <a:ext cx="10584543" cy="492124"/>
          </a:xfrm>
          <a:prstGeom prst="rect">
            <a:avLst/>
          </a:prstGeom>
        </p:spPr>
        <p:txBody>
          <a:bodyPr anchor="ctr"/>
          <a:lstStyle>
            <a:lvl1pPr algn="l">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7" name="Group 6">
            <a:extLst>
              <a:ext uri="{FF2B5EF4-FFF2-40B4-BE49-F238E27FC236}">
                <a16:creationId xmlns:a16="http://schemas.microsoft.com/office/drawing/2014/main" id="{DEFBAFF6-0F01-4992-A3EA-12C77A5325BD}"/>
              </a:ext>
            </a:extLst>
          </p:cNvPr>
          <p:cNvGrpSpPr/>
          <p:nvPr userDrawn="1"/>
        </p:nvGrpSpPr>
        <p:grpSpPr>
          <a:xfrm>
            <a:off x="887636" y="1351915"/>
            <a:ext cx="934314" cy="45719"/>
            <a:chOff x="887636" y="1148715"/>
            <a:chExt cx="934314" cy="45719"/>
          </a:xfrm>
        </p:grpSpPr>
        <p:sp>
          <p:nvSpPr>
            <p:cNvPr id="8" name="Freeform: Shape 7">
              <a:extLst>
                <a:ext uri="{FF2B5EF4-FFF2-40B4-BE49-F238E27FC236}">
                  <a16:creationId xmlns:a16="http://schemas.microsoft.com/office/drawing/2014/main" id="{F454CADC-167E-4E5F-B012-42A88F2D7B7F}"/>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9" name="Freeform: Shape 8">
              <a:extLst>
                <a:ext uri="{FF2B5EF4-FFF2-40B4-BE49-F238E27FC236}">
                  <a16:creationId xmlns:a16="http://schemas.microsoft.com/office/drawing/2014/main" id="{02D848AF-BA85-4010-BB9E-81F18D066958}"/>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0" name="Freeform: Shape 9">
              <a:extLst>
                <a:ext uri="{FF2B5EF4-FFF2-40B4-BE49-F238E27FC236}">
                  <a16:creationId xmlns:a16="http://schemas.microsoft.com/office/drawing/2014/main" id="{D7632941-8A4E-44F6-89F4-40E4386790C7}"/>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11" name="Content Placeholder 11">
            <a:extLst>
              <a:ext uri="{FF2B5EF4-FFF2-40B4-BE49-F238E27FC236}">
                <a16:creationId xmlns:a16="http://schemas.microsoft.com/office/drawing/2014/main" id="{A4F79BD5-20E2-4EA8-87A0-4D0AE33C7E88}"/>
              </a:ext>
            </a:extLst>
          </p:cNvPr>
          <p:cNvSpPr>
            <a:spLocks noGrp="1"/>
          </p:cNvSpPr>
          <p:nvPr>
            <p:ph sz="quarter" idx="11"/>
          </p:nvPr>
        </p:nvSpPr>
        <p:spPr>
          <a:xfrm>
            <a:off x="803729" y="1042673"/>
            <a:ext cx="10584542" cy="327019"/>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937768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00" fill="hold"/>
                                        <p:tgtEl>
                                          <p:spTgt spid="11"/>
                                        </p:tgtEl>
                                        <p:attrNameLst>
                                          <p:attrName>ppt_x</p:attrName>
                                        </p:attrNameLst>
                                      </p:cBhvr>
                                      <p:tavLst>
                                        <p:tav tm="0">
                                          <p:val>
                                            <p:strVal val="0-#ppt_w/2"/>
                                          </p:val>
                                        </p:tav>
                                        <p:tav tm="100000">
                                          <p:val>
                                            <p:strVal val="#ppt_x"/>
                                          </p:val>
                                        </p:tav>
                                      </p:tavLst>
                                    </p:anim>
                                    <p:anim calcmode="lin" valueType="num">
                                      <p:cBhvr additive="base">
                                        <p:cTn id="12" dur="1200" fill="hold"/>
                                        <p:tgtEl>
                                          <p:spTgt spid="11"/>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tmplLst>
          <p:tmpl>
            <p:tnLst>
              <p:par>
                <p:cTn presetID="2" presetClass="entr" presetSubtype="8" decel="10000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1200" fill="hold"/>
                        <p:tgtEl>
                          <p:spTgt spid="11"/>
                        </p:tgtEl>
                        <p:attrNameLst>
                          <p:attrName>ppt_x</p:attrName>
                        </p:attrNameLst>
                      </p:cBhvr>
                      <p:tavLst>
                        <p:tav tm="0">
                          <p:val>
                            <p:strVal val="0-#ppt_w/2"/>
                          </p:val>
                        </p:tav>
                        <p:tav tm="100000">
                          <p:val>
                            <p:strVal val="#ppt_x"/>
                          </p:val>
                        </p:tav>
                      </p:tavLst>
                    </p:anim>
                    <p:anim calcmode="lin" valueType="num">
                      <p:cBhvr additive="base">
                        <p:cTn dur="1200" fill="hold"/>
                        <p:tgtEl>
                          <p:spTgt spid="11"/>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3_Title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91F13F47-BD7A-4E1C-84B3-C39A3A090B14}"/>
              </a:ext>
            </a:extLst>
          </p:cNvPr>
          <p:cNvSpPr>
            <a:spLocks noGrp="1"/>
          </p:cNvSpPr>
          <p:nvPr>
            <p:ph type="pic" sz="quarter" idx="10"/>
          </p:nvPr>
        </p:nvSpPr>
        <p:spPr>
          <a:xfrm>
            <a:off x="335092" y="0"/>
            <a:ext cx="11521819" cy="6858000"/>
          </a:xfrm>
          <a:custGeom>
            <a:avLst/>
            <a:gdLst>
              <a:gd name="connsiteX0" fmla="*/ 0 w 11521819"/>
              <a:gd name="connsiteY0" fmla="*/ 0 h 6858000"/>
              <a:gd name="connsiteX1" fmla="*/ 4663819 w 11521819"/>
              <a:gd name="connsiteY1" fmla="*/ 0 h 6858000"/>
              <a:gd name="connsiteX2" fmla="*/ 5760909 w 11521819"/>
              <a:gd name="connsiteY2" fmla="*/ 1097091 h 6858000"/>
              <a:gd name="connsiteX3" fmla="*/ 6858000 w 11521819"/>
              <a:gd name="connsiteY3" fmla="*/ 0 h 6858000"/>
              <a:gd name="connsiteX4" fmla="*/ 11521819 w 11521819"/>
              <a:gd name="connsiteY4" fmla="*/ 0 h 6858000"/>
              <a:gd name="connsiteX5" fmla="*/ 8092818 w 11521819"/>
              <a:gd name="connsiteY5" fmla="*/ 3429001 h 6858000"/>
              <a:gd name="connsiteX6" fmla="*/ 11521818 w 11521819"/>
              <a:gd name="connsiteY6" fmla="*/ 6858000 h 6858000"/>
              <a:gd name="connsiteX7" fmla="*/ 6858000 w 11521819"/>
              <a:gd name="connsiteY7" fmla="*/ 6858000 h 6858000"/>
              <a:gd name="connsiteX8" fmla="*/ 5760909 w 11521819"/>
              <a:gd name="connsiteY8" fmla="*/ 5760910 h 6858000"/>
              <a:gd name="connsiteX9" fmla="*/ 4663819 w 11521819"/>
              <a:gd name="connsiteY9" fmla="*/ 6858000 h 6858000"/>
              <a:gd name="connsiteX10" fmla="*/ 0 w 11521819"/>
              <a:gd name="connsiteY10" fmla="*/ 6858000 h 6858000"/>
              <a:gd name="connsiteX11" fmla="*/ 3429000 w 11521819"/>
              <a:gd name="connsiteY11"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21819" h="6858000">
                <a:moveTo>
                  <a:pt x="0" y="0"/>
                </a:moveTo>
                <a:lnTo>
                  <a:pt x="4663819" y="0"/>
                </a:lnTo>
                <a:lnTo>
                  <a:pt x="5760909" y="1097091"/>
                </a:lnTo>
                <a:lnTo>
                  <a:pt x="6858000" y="0"/>
                </a:lnTo>
                <a:lnTo>
                  <a:pt x="11521819" y="0"/>
                </a:lnTo>
                <a:lnTo>
                  <a:pt x="8092818" y="3429001"/>
                </a:lnTo>
                <a:lnTo>
                  <a:pt x="11521818" y="6858000"/>
                </a:lnTo>
                <a:lnTo>
                  <a:pt x="6858000" y="6858000"/>
                </a:lnTo>
                <a:lnTo>
                  <a:pt x="5760909" y="5760910"/>
                </a:lnTo>
                <a:lnTo>
                  <a:pt x="4663819" y="6858000"/>
                </a:lnTo>
                <a:lnTo>
                  <a:pt x="0" y="6858000"/>
                </a:lnTo>
                <a:lnTo>
                  <a:pt x="3429000" y="3429000"/>
                </a:lnTo>
                <a:close/>
              </a:path>
            </a:pathLst>
          </a:custGeom>
          <a:solidFill>
            <a:schemeClr val="accent2">
              <a:alpha val="30000"/>
            </a:schemeClr>
          </a:solidFill>
        </p:spPr>
        <p:txBody>
          <a:bodyPr wrap="square" anchor="ctr">
            <a:noAutofit/>
          </a:bodyPr>
          <a:lstStyle>
            <a:lvl1pPr algn="ctr">
              <a:defRPr>
                <a:solidFill>
                  <a:schemeClr val="bg1">
                    <a:lumMod val="75000"/>
                  </a:schemeClr>
                </a:solidFill>
              </a:defRPr>
            </a:lvl1pPr>
          </a:lstStyle>
          <a:p>
            <a:endParaRPr lang="id-ID"/>
          </a:p>
        </p:txBody>
      </p:sp>
    </p:spTree>
    <p:extLst>
      <p:ext uri="{BB962C8B-B14F-4D97-AF65-F5344CB8AC3E}">
        <p14:creationId xmlns:p14="http://schemas.microsoft.com/office/powerpoint/2010/main" val="302709382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4_Title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91F13F47-BD7A-4E1C-84B3-C39A3A090B14}"/>
              </a:ext>
            </a:extLst>
          </p:cNvPr>
          <p:cNvSpPr>
            <a:spLocks noGrp="1"/>
          </p:cNvSpPr>
          <p:nvPr>
            <p:ph type="pic" sz="quarter" idx="10"/>
          </p:nvPr>
        </p:nvSpPr>
        <p:spPr>
          <a:xfrm>
            <a:off x="3478342" y="0"/>
            <a:ext cx="11521819" cy="6858000"/>
          </a:xfrm>
          <a:custGeom>
            <a:avLst/>
            <a:gdLst>
              <a:gd name="connsiteX0" fmla="*/ 0 w 11521819"/>
              <a:gd name="connsiteY0" fmla="*/ 0 h 6858000"/>
              <a:gd name="connsiteX1" fmla="*/ 4663819 w 11521819"/>
              <a:gd name="connsiteY1" fmla="*/ 0 h 6858000"/>
              <a:gd name="connsiteX2" fmla="*/ 5760909 w 11521819"/>
              <a:gd name="connsiteY2" fmla="*/ 1097091 h 6858000"/>
              <a:gd name="connsiteX3" fmla="*/ 6858000 w 11521819"/>
              <a:gd name="connsiteY3" fmla="*/ 0 h 6858000"/>
              <a:gd name="connsiteX4" fmla="*/ 11521819 w 11521819"/>
              <a:gd name="connsiteY4" fmla="*/ 0 h 6858000"/>
              <a:gd name="connsiteX5" fmla="*/ 8092818 w 11521819"/>
              <a:gd name="connsiteY5" fmla="*/ 3429001 h 6858000"/>
              <a:gd name="connsiteX6" fmla="*/ 11521818 w 11521819"/>
              <a:gd name="connsiteY6" fmla="*/ 6858000 h 6858000"/>
              <a:gd name="connsiteX7" fmla="*/ 6858000 w 11521819"/>
              <a:gd name="connsiteY7" fmla="*/ 6858000 h 6858000"/>
              <a:gd name="connsiteX8" fmla="*/ 5760909 w 11521819"/>
              <a:gd name="connsiteY8" fmla="*/ 5760910 h 6858000"/>
              <a:gd name="connsiteX9" fmla="*/ 4663819 w 11521819"/>
              <a:gd name="connsiteY9" fmla="*/ 6858000 h 6858000"/>
              <a:gd name="connsiteX10" fmla="*/ 0 w 11521819"/>
              <a:gd name="connsiteY10" fmla="*/ 6858000 h 6858000"/>
              <a:gd name="connsiteX11" fmla="*/ 3429000 w 11521819"/>
              <a:gd name="connsiteY11"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21819" h="6858000">
                <a:moveTo>
                  <a:pt x="0" y="0"/>
                </a:moveTo>
                <a:lnTo>
                  <a:pt x="4663819" y="0"/>
                </a:lnTo>
                <a:lnTo>
                  <a:pt x="5760909" y="1097091"/>
                </a:lnTo>
                <a:lnTo>
                  <a:pt x="6858000" y="0"/>
                </a:lnTo>
                <a:lnTo>
                  <a:pt x="11521819" y="0"/>
                </a:lnTo>
                <a:lnTo>
                  <a:pt x="8092818" y="3429001"/>
                </a:lnTo>
                <a:lnTo>
                  <a:pt x="11521818" y="6858000"/>
                </a:lnTo>
                <a:lnTo>
                  <a:pt x="6858000" y="6858000"/>
                </a:lnTo>
                <a:lnTo>
                  <a:pt x="5760909" y="5760910"/>
                </a:lnTo>
                <a:lnTo>
                  <a:pt x="4663819" y="6858000"/>
                </a:lnTo>
                <a:lnTo>
                  <a:pt x="0" y="6858000"/>
                </a:lnTo>
                <a:lnTo>
                  <a:pt x="3429000" y="3429000"/>
                </a:lnTo>
                <a:close/>
              </a:path>
            </a:pathLst>
          </a:custGeom>
          <a:effectLst>
            <a:innerShdw blurRad="431800">
              <a:prstClr val="black"/>
            </a:innerShdw>
          </a:effectLst>
        </p:spPr>
        <p:txBody>
          <a:bodyPr wrap="square" anchor="ctr">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3418198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1+#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chemeClr val="bg1">
            <a:lumMod val="95000"/>
          </a:schemeClr>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F697AC9A-046A-4B08-A6F4-BD7913189000}"/>
              </a:ext>
            </a:extLst>
          </p:cNvPr>
          <p:cNvSpPr>
            <a:spLocks noGrp="1"/>
          </p:cNvSpPr>
          <p:nvPr>
            <p:ph type="pic" sz="quarter" idx="10"/>
          </p:nvPr>
        </p:nvSpPr>
        <p:spPr>
          <a:xfrm>
            <a:off x="1" y="1465942"/>
            <a:ext cx="9017784" cy="5392057"/>
          </a:xfrm>
          <a:custGeom>
            <a:avLst/>
            <a:gdLst>
              <a:gd name="connsiteX0" fmla="*/ 0 w 11469457"/>
              <a:gd name="connsiteY0" fmla="*/ 0 h 6858000"/>
              <a:gd name="connsiteX1" fmla="*/ 4611458 w 11469457"/>
              <a:gd name="connsiteY1" fmla="*/ 1 h 6858000"/>
              <a:gd name="connsiteX2" fmla="*/ 11469457 w 11469457"/>
              <a:gd name="connsiteY2" fmla="*/ 6858000 h 6858000"/>
              <a:gd name="connsiteX3" fmla="*/ 6858001 w 11469457"/>
              <a:gd name="connsiteY3" fmla="*/ 6858000 h 6858000"/>
              <a:gd name="connsiteX4" fmla="*/ 5760909 w 11469457"/>
              <a:gd name="connsiteY4" fmla="*/ 5760910 h 6858000"/>
              <a:gd name="connsiteX5" fmla="*/ 4663819 w 11469457"/>
              <a:gd name="connsiteY5" fmla="*/ 6858000 h 6858000"/>
              <a:gd name="connsiteX6" fmla="*/ 0 w 11469457"/>
              <a:gd name="connsiteY6" fmla="*/ 6858000 h 6858000"/>
              <a:gd name="connsiteX7" fmla="*/ 3429000 w 11469457"/>
              <a:gd name="connsiteY7"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9457" h="6858000">
                <a:moveTo>
                  <a:pt x="0" y="0"/>
                </a:moveTo>
                <a:lnTo>
                  <a:pt x="4611458" y="1"/>
                </a:lnTo>
                <a:lnTo>
                  <a:pt x="11469457" y="6858000"/>
                </a:lnTo>
                <a:lnTo>
                  <a:pt x="6858001" y="6858000"/>
                </a:lnTo>
                <a:lnTo>
                  <a:pt x="5760909" y="5760910"/>
                </a:lnTo>
                <a:lnTo>
                  <a:pt x="4663819" y="6858000"/>
                </a:lnTo>
                <a:lnTo>
                  <a:pt x="0" y="6858000"/>
                </a:lnTo>
                <a:lnTo>
                  <a:pt x="3429000" y="3429000"/>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2630923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nodePh="1">
                                  <p:stCondLst>
                                    <p:cond delay="25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0-#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1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lstStyle>
            <a:lvl1pPr marL="0" indent="0">
              <a:buNone/>
              <a:defRPr sz="2000">
                <a:solidFill>
                  <a:schemeClr val="tx1">
                    <a:lumMod val="50000"/>
                    <a:lumOff val="50000"/>
                  </a:schemeClr>
                </a:solidFill>
              </a:defRPr>
            </a:lvl1pPr>
          </a:lstStyle>
          <a:p>
            <a:endParaRPr lang="id-ID"/>
          </a:p>
        </p:txBody>
      </p:sp>
      <p:sp>
        <p:nvSpPr>
          <p:cNvPr id="6" name="Picture Placeholder 5">
            <a:extLst>
              <a:ext uri="{FF2B5EF4-FFF2-40B4-BE49-F238E27FC236}">
                <a16:creationId xmlns:a16="http://schemas.microsoft.com/office/drawing/2014/main" id="{37A98860-E125-4229-9B29-A1812580AFDD}"/>
              </a:ext>
            </a:extLst>
          </p:cNvPr>
          <p:cNvSpPr>
            <a:spLocks noGrp="1"/>
          </p:cNvSpPr>
          <p:nvPr>
            <p:ph type="pic" sz="quarter" idx="11"/>
          </p:nvPr>
        </p:nvSpPr>
        <p:spPr>
          <a:xfrm>
            <a:off x="766763" y="669817"/>
            <a:ext cx="2963576" cy="5927152"/>
          </a:xfrm>
          <a:custGeom>
            <a:avLst/>
            <a:gdLst>
              <a:gd name="connsiteX0" fmla="*/ 2741388 w 2741388"/>
              <a:gd name="connsiteY0" fmla="*/ 0 h 5482776"/>
              <a:gd name="connsiteX1" fmla="*/ 2741388 w 2741388"/>
              <a:gd name="connsiteY1" fmla="*/ 5482776 h 5482776"/>
              <a:gd name="connsiteX2" fmla="*/ 0 w 2741388"/>
              <a:gd name="connsiteY2" fmla="*/ 2741388 h 5482776"/>
            </a:gdLst>
            <a:ahLst/>
            <a:cxnLst>
              <a:cxn ang="0">
                <a:pos x="connsiteX0" y="connsiteY0"/>
              </a:cxn>
              <a:cxn ang="0">
                <a:pos x="connsiteX1" y="connsiteY1"/>
              </a:cxn>
              <a:cxn ang="0">
                <a:pos x="connsiteX2" y="connsiteY2"/>
              </a:cxn>
            </a:cxnLst>
            <a:rect l="l" t="t" r="r" b="b"/>
            <a:pathLst>
              <a:path w="2741388" h="5482776">
                <a:moveTo>
                  <a:pt x="2741388" y="0"/>
                </a:moveTo>
                <a:lnTo>
                  <a:pt x="2741388" y="5482776"/>
                </a:lnTo>
                <a:lnTo>
                  <a:pt x="0" y="2741388"/>
                </a:lnTo>
                <a:close/>
              </a:path>
            </a:pathLst>
          </a:custGeom>
        </p:spPr>
        <p:txBody>
          <a:bodyPr wrap="square" anchor="ctr">
            <a:noAutofit/>
          </a:bodyPr>
          <a:lstStyle>
            <a:lvl1pPr marL="0" indent="0" algn="ctr">
              <a:buNone/>
              <a:defRPr>
                <a:solidFill>
                  <a:schemeClr val="bg1">
                    <a:lumMod val="75000"/>
                  </a:schemeClr>
                </a:solidFill>
              </a:defRPr>
            </a:lvl1pPr>
          </a:lstStyle>
          <a:p>
            <a:endParaRPr lang="id-ID" dirty="0"/>
          </a:p>
        </p:txBody>
      </p:sp>
    </p:spTree>
    <p:extLst>
      <p:ext uri="{BB962C8B-B14F-4D97-AF65-F5344CB8AC3E}">
        <p14:creationId xmlns:p14="http://schemas.microsoft.com/office/powerpoint/2010/main" val="7598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22" presetClass="entr" presetSubtype="8" fill="hold" grpId="0" nodeType="withEffect" nodePh="1">
                                  <p:stCondLst>
                                    <p:cond delay="250"/>
                                  </p:stCondLst>
                                  <p:endCondLst>
                                    <p:cond evt="begin" delay="0">
                                      <p:tn val="8"/>
                                    </p:cond>
                                  </p:end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F482C00-A3D4-46AC-A97A-3BED69CF9BA7}"/>
              </a:ext>
            </a:extLst>
          </p:cNvPr>
          <p:cNvSpPr/>
          <p:nvPr userDrawn="1"/>
        </p:nvSpPr>
        <p:spPr>
          <a:xfrm>
            <a:off x="0" y="0"/>
            <a:ext cx="10747828" cy="6858000"/>
          </a:xfrm>
          <a:custGeom>
            <a:avLst/>
            <a:gdLst>
              <a:gd name="connsiteX0" fmla="*/ 0 w 10747828"/>
              <a:gd name="connsiteY0" fmla="*/ 0 h 6858000"/>
              <a:gd name="connsiteX1" fmla="*/ 3889828 w 10747828"/>
              <a:gd name="connsiteY1" fmla="*/ 0 h 6858000"/>
              <a:gd name="connsiteX2" fmla="*/ 10747828 w 10747828"/>
              <a:gd name="connsiteY2" fmla="*/ 6858000 h 6858000"/>
              <a:gd name="connsiteX3" fmla="*/ 3889828 w 10747828"/>
              <a:gd name="connsiteY3" fmla="*/ 6858000 h 6858000"/>
              <a:gd name="connsiteX4" fmla="*/ 0 w 1074782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828" h="6858000">
                <a:moveTo>
                  <a:pt x="0" y="0"/>
                </a:moveTo>
                <a:lnTo>
                  <a:pt x="3889828" y="0"/>
                </a:lnTo>
                <a:lnTo>
                  <a:pt x="10747828" y="6858000"/>
                </a:lnTo>
                <a:lnTo>
                  <a:pt x="3889828" y="6858000"/>
                </a:lnTo>
                <a:lnTo>
                  <a:pt x="0" y="68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p>
        </p:txBody>
      </p:sp>
      <p:sp>
        <p:nvSpPr>
          <p:cNvPr id="5" name="Picture Placeholder 4">
            <a:extLst>
              <a:ext uri="{FF2B5EF4-FFF2-40B4-BE49-F238E27FC236}">
                <a16:creationId xmlns:a16="http://schemas.microsoft.com/office/drawing/2014/main" id="{999B4222-9FA3-4605-A2F9-543E2C0ECC34}"/>
              </a:ext>
            </a:extLst>
          </p:cNvPr>
          <p:cNvSpPr>
            <a:spLocks noGrp="1"/>
          </p:cNvSpPr>
          <p:nvPr>
            <p:ph type="pic" sz="quarter" idx="10"/>
          </p:nvPr>
        </p:nvSpPr>
        <p:spPr>
          <a:xfrm>
            <a:off x="942775" y="1982009"/>
            <a:ext cx="7609894" cy="2540022"/>
          </a:xfrm>
          <a:custGeom>
            <a:avLst/>
            <a:gdLst>
              <a:gd name="connsiteX0" fmla="*/ 0 w 7609894"/>
              <a:gd name="connsiteY0" fmla="*/ 0 h 2540022"/>
              <a:gd name="connsiteX1" fmla="*/ 5051679 w 7609894"/>
              <a:gd name="connsiteY1" fmla="*/ 0 h 2540022"/>
              <a:gd name="connsiteX2" fmla="*/ 5086744 w 7609894"/>
              <a:gd name="connsiteY2" fmla="*/ 0 h 2540022"/>
              <a:gd name="connsiteX3" fmla="*/ 5069212 w 7609894"/>
              <a:gd name="connsiteY3" fmla="*/ 17408 h 2540022"/>
              <a:gd name="connsiteX4" fmla="*/ 7609894 w 7609894"/>
              <a:gd name="connsiteY4" fmla="*/ 2540022 h 2540022"/>
              <a:gd name="connsiteX5" fmla="*/ 2528531 w 7609894"/>
              <a:gd name="connsiteY5" fmla="*/ 2540022 h 2540022"/>
              <a:gd name="connsiteX6" fmla="*/ 2521655 w 7609894"/>
              <a:gd name="connsiteY6" fmla="*/ 2540022 h 2540022"/>
              <a:gd name="connsiteX7" fmla="*/ 2525092 w 7609894"/>
              <a:gd name="connsiteY7" fmla="*/ 2536571 h 2540022"/>
              <a:gd name="connsiteX8" fmla="*/ 0 w 7609894"/>
              <a:gd name="connsiteY8" fmla="*/ 1503 h 254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09894" h="2540022">
                <a:moveTo>
                  <a:pt x="0" y="0"/>
                </a:moveTo>
                <a:lnTo>
                  <a:pt x="5051679" y="0"/>
                </a:lnTo>
                <a:lnTo>
                  <a:pt x="5086744" y="0"/>
                </a:lnTo>
                <a:lnTo>
                  <a:pt x="5069212" y="17408"/>
                </a:lnTo>
                <a:lnTo>
                  <a:pt x="7609894" y="2540022"/>
                </a:lnTo>
                <a:lnTo>
                  <a:pt x="2528531" y="2540022"/>
                </a:lnTo>
                <a:lnTo>
                  <a:pt x="2521655" y="2540022"/>
                </a:lnTo>
                <a:lnTo>
                  <a:pt x="2525092" y="2536571"/>
                </a:lnTo>
                <a:lnTo>
                  <a:pt x="0" y="1503"/>
                </a:lnTo>
                <a:close/>
              </a:path>
            </a:pathLst>
          </a:custGeom>
        </p:spPr>
        <p:txBody>
          <a:bodyPr wrap="square">
            <a:noAutofit/>
          </a:bodyPr>
          <a:lstStyle>
            <a:lvl1pPr marL="0" indent="0">
              <a:buNone/>
              <a:defRPr sz="2000">
                <a:solidFill>
                  <a:schemeClr val="tx1">
                    <a:lumMod val="50000"/>
                    <a:lumOff val="50000"/>
                  </a:schemeClr>
                </a:solidFill>
              </a:defRPr>
            </a:lvl1pPr>
          </a:lstStyle>
          <a:p>
            <a:endParaRPr lang="id-ID"/>
          </a:p>
        </p:txBody>
      </p:sp>
      <p:sp>
        <p:nvSpPr>
          <p:cNvPr id="13" name="Right Triangle 12">
            <a:extLst>
              <a:ext uri="{FF2B5EF4-FFF2-40B4-BE49-F238E27FC236}">
                <a16:creationId xmlns:a16="http://schemas.microsoft.com/office/drawing/2014/main" id="{1C47BEAC-6536-4286-AAFC-36D212A7636E}"/>
              </a:ext>
            </a:extLst>
          </p:cNvPr>
          <p:cNvSpPr/>
          <p:nvPr userDrawn="1"/>
        </p:nvSpPr>
        <p:spPr>
          <a:xfrm rot="5400000">
            <a:off x="99316" y="101920"/>
            <a:ext cx="457200" cy="457200"/>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xtBox 13">
            <a:extLst>
              <a:ext uri="{FF2B5EF4-FFF2-40B4-BE49-F238E27FC236}">
                <a16:creationId xmlns:a16="http://schemas.microsoft.com/office/drawing/2014/main" id="{7539B052-BD4D-44A3-BE85-62902C21A5E4}"/>
              </a:ext>
            </a:extLst>
          </p:cNvPr>
          <p:cNvSpPr txBox="1"/>
          <p:nvPr userDrawn="1"/>
        </p:nvSpPr>
        <p:spPr>
          <a:xfrm>
            <a:off x="426217" y="5502446"/>
            <a:ext cx="2900784" cy="1070218"/>
          </a:xfrm>
          <a:custGeom>
            <a:avLst/>
            <a:gdLst/>
            <a:ahLst/>
            <a:cxnLst/>
            <a:rect l="l" t="t" r="r" b="b"/>
            <a:pathLst>
              <a:path w="2900784" h="1070218">
                <a:moveTo>
                  <a:pt x="2740764" y="929401"/>
                </a:moveTo>
                <a:lnTo>
                  <a:pt x="2900784" y="929401"/>
                </a:lnTo>
                <a:lnTo>
                  <a:pt x="2855407" y="1062903"/>
                </a:lnTo>
                <a:lnTo>
                  <a:pt x="2695387" y="1062903"/>
                </a:lnTo>
                <a:close/>
                <a:moveTo>
                  <a:pt x="2638447" y="505119"/>
                </a:moveTo>
                <a:cubicBezTo>
                  <a:pt x="2611624" y="505119"/>
                  <a:pt x="2590026" y="529198"/>
                  <a:pt x="2573653" y="577357"/>
                </a:cubicBezTo>
                <a:lnTo>
                  <a:pt x="2544449" y="663310"/>
                </a:lnTo>
                <a:lnTo>
                  <a:pt x="2620344" y="663310"/>
                </a:lnTo>
                <a:lnTo>
                  <a:pt x="2649548" y="577357"/>
                </a:lnTo>
                <a:cubicBezTo>
                  <a:pt x="2665921" y="529198"/>
                  <a:pt x="2662221" y="505119"/>
                  <a:pt x="2638447" y="505119"/>
                </a:cubicBezTo>
                <a:close/>
                <a:moveTo>
                  <a:pt x="1814834" y="393562"/>
                </a:moveTo>
                <a:lnTo>
                  <a:pt x="1974854" y="393562"/>
                </a:lnTo>
                <a:lnTo>
                  <a:pt x="1747383" y="1062903"/>
                </a:lnTo>
                <a:lnTo>
                  <a:pt x="1587363" y="1062903"/>
                </a:lnTo>
                <a:close/>
                <a:moveTo>
                  <a:pt x="2680666" y="386247"/>
                </a:moveTo>
                <a:cubicBezTo>
                  <a:pt x="2809292" y="386247"/>
                  <a:pt x="2852164" y="449341"/>
                  <a:pt x="2809282" y="575528"/>
                </a:cubicBezTo>
                <a:lnTo>
                  <a:pt x="2792809" y="623991"/>
                </a:lnTo>
                <a:cubicBezTo>
                  <a:pt x="2776235" y="672759"/>
                  <a:pt x="2762162" y="712383"/>
                  <a:pt x="2750589" y="742863"/>
                </a:cubicBezTo>
                <a:lnTo>
                  <a:pt x="2518331" y="742863"/>
                </a:lnTo>
                <a:lnTo>
                  <a:pt x="2474197" y="872708"/>
                </a:lnTo>
                <a:cubicBezTo>
                  <a:pt x="2466330" y="895873"/>
                  <a:pt x="2462605" y="914008"/>
                  <a:pt x="2463025" y="927115"/>
                </a:cubicBezTo>
                <a:cubicBezTo>
                  <a:pt x="2463444" y="940221"/>
                  <a:pt x="2471578" y="946774"/>
                  <a:pt x="2487428" y="946774"/>
                </a:cubicBezTo>
                <a:cubicBezTo>
                  <a:pt x="2499620" y="946774"/>
                  <a:pt x="2509549" y="943117"/>
                  <a:pt x="2517217" y="935802"/>
                </a:cubicBezTo>
                <a:cubicBezTo>
                  <a:pt x="2524885" y="928486"/>
                  <a:pt x="2530783" y="920104"/>
                  <a:pt x="2534912" y="910656"/>
                </a:cubicBezTo>
                <a:cubicBezTo>
                  <a:pt x="2539041" y="901207"/>
                  <a:pt x="2544211" y="887338"/>
                  <a:pt x="2550421" y="869050"/>
                </a:cubicBezTo>
                <a:lnTo>
                  <a:pt x="2572481" y="804128"/>
                </a:lnTo>
                <a:lnTo>
                  <a:pt x="2731587" y="804128"/>
                </a:lnTo>
                <a:lnTo>
                  <a:pt x="2718542" y="842533"/>
                </a:lnTo>
                <a:cubicBezTo>
                  <a:pt x="2692025" y="920562"/>
                  <a:pt x="2657411" y="978016"/>
                  <a:pt x="2614701" y="1014897"/>
                </a:cubicBezTo>
                <a:cubicBezTo>
                  <a:pt x="2571991" y="1051778"/>
                  <a:pt x="2513755" y="1070218"/>
                  <a:pt x="2439993" y="1070218"/>
                </a:cubicBezTo>
                <a:cubicBezTo>
                  <a:pt x="2371108" y="1070218"/>
                  <a:pt x="2328153" y="1051321"/>
                  <a:pt x="2311127" y="1013526"/>
                </a:cubicBezTo>
                <a:cubicBezTo>
                  <a:pt x="2294101" y="975730"/>
                  <a:pt x="2298328" y="919342"/>
                  <a:pt x="2323807" y="844362"/>
                </a:cubicBezTo>
                <a:lnTo>
                  <a:pt x="2415176" y="575528"/>
                </a:lnTo>
                <a:cubicBezTo>
                  <a:pt x="2436102" y="513958"/>
                  <a:pt x="2469733" y="467019"/>
                  <a:pt x="2516067" y="434710"/>
                </a:cubicBezTo>
                <a:cubicBezTo>
                  <a:pt x="2562401" y="402402"/>
                  <a:pt x="2617268" y="386247"/>
                  <a:pt x="2680666" y="386247"/>
                </a:cubicBezTo>
                <a:close/>
                <a:moveTo>
                  <a:pt x="2236649" y="386247"/>
                </a:moveTo>
                <a:cubicBezTo>
                  <a:pt x="2293951" y="386247"/>
                  <a:pt x="2335511" y="401182"/>
                  <a:pt x="2361329" y="431053"/>
                </a:cubicBezTo>
                <a:cubicBezTo>
                  <a:pt x="2387146" y="460923"/>
                  <a:pt x="2390939" y="502681"/>
                  <a:pt x="2372708" y="556326"/>
                </a:cubicBezTo>
                <a:lnTo>
                  <a:pt x="2337904" y="658738"/>
                </a:lnTo>
                <a:lnTo>
                  <a:pt x="2175141" y="658738"/>
                </a:lnTo>
                <a:lnTo>
                  <a:pt x="2207145" y="564555"/>
                </a:lnTo>
                <a:cubicBezTo>
                  <a:pt x="2213155" y="546877"/>
                  <a:pt x="2215327" y="533313"/>
                  <a:pt x="2213660" y="523864"/>
                </a:cubicBezTo>
                <a:cubicBezTo>
                  <a:pt x="2211993" y="514416"/>
                  <a:pt x="2204149" y="509691"/>
                  <a:pt x="2190129" y="509691"/>
                </a:cubicBezTo>
                <a:cubicBezTo>
                  <a:pt x="2163916" y="509691"/>
                  <a:pt x="2144490" y="528284"/>
                  <a:pt x="2131850" y="565470"/>
                </a:cubicBezTo>
                <a:lnTo>
                  <a:pt x="2021536" y="890082"/>
                </a:lnTo>
                <a:cubicBezTo>
                  <a:pt x="2016354" y="905322"/>
                  <a:pt x="2015152" y="918276"/>
                  <a:pt x="2017928" y="928944"/>
                </a:cubicBezTo>
                <a:cubicBezTo>
                  <a:pt x="2020705" y="939612"/>
                  <a:pt x="2028494" y="944946"/>
                  <a:pt x="2041296" y="944946"/>
                </a:cubicBezTo>
                <a:cubicBezTo>
                  <a:pt x="2054097" y="944946"/>
                  <a:pt x="2065458" y="939764"/>
                  <a:pt x="2075379" y="929401"/>
                </a:cubicBezTo>
                <a:cubicBezTo>
                  <a:pt x="2085299" y="919038"/>
                  <a:pt x="2092754" y="905626"/>
                  <a:pt x="2097746" y="889167"/>
                </a:cubicBezTo>
                <a:lnTo>
                  <a:pt x="2135050" y="776696"/>
                </a:lnTo>
                <a:lnTo>
                  <a:pt x="2297813" y="776696"/>
                </a:lnTo>
                <a:lnTo>
                  <a:pt x="2258037" y="893739"/>
                </a:lnTo>
                <a:cubicBezTo>
                  <a:pt x="2239387" y="948603"/>
                  <a:pt x="2206897" y="991732"/>
                  <a:pt x="2160568" y="1023127"/>
                </a:cubicBezTo>
                <a:cubicBezTo>
                  <a:pt x="2114238" y="1054521"/>
                  <a:pt x="2062727" y="1070218"/>
                  <a:pt x="2006034" y="1070218"/>
                </a:cubicBezTo>
                <a:cubicBezTo>
                  <a:pt x="1932882" y="1070218"/>
                  <a:pt x="1886472" y="1051626"/>
                  <a:pt x="1866802" y="1014440"/>
                </a:cubicBezTo>
                <a:cubicBezTo>
                  <a:pt x="1847133" y="977254"/>
                  <a:pt x="1850348" y="920257"/>
                  <a:pt x="1876447" y="843447"/>
                </a:cubicBezTo>
                <a:lnTo>
                  <a:pt x="1946684" y="636793"/>
                </a:lnTo>
                <a:cubicBezTo>
                  <a:pt x="1966363" y="578881"/>
                  <a:pt x="1988613" y="531789"/>
                  <a:pt x="2013435" y="495518"/>
                </a:cubicBezTo>
                <a:cubicBezTo>
                  <a:pt x="2038257" y="459247"/>
                  <a:pt x="2068559" y="431967"/>
                  <a:pt x="2104339" y="413679"/>
                </a:cubicBezTo>
                <a:cubicBezTo>
                  <a:pt x="2140120" y="395391"/>
                  <a:pt x="2184223" y="386247"/>
                  <a:pt x="2236649" y="386247"/>
                </a:cubicBezTo>
                <a:close/>
                <a:moveTo>
                  <a:pt x="1867969" y="237200"/>
                </a:moveTo>
                <a:lnTo>
                  <a:pt x="2027989" y="237200"/>
                </a:lnTo>
                <a:lnTo>
                  <a:pt x="1990085" y="348757"/>
                </a:lnTo>
                <a:lnTo>
                  <a:pt x="1830065" y="348757"/>
                </a:lnTo>
                <a:close/>
                <a:moveTo>
                  <a:pt x="622260" y="116128"/>
                </a:moveTo>
                <a:lnTo>
                  <a:pt x="783195" y="116128"/>
                </a:lnTo>
                <a:lnTo>
                  <a:pt x="624718" y="582472"/>
                </a:lnTo>
                <a:cubicBezTo>
                  <a:pt x="623261" y="586740"/>
                  <a:pt x="619374" y="598170"/>
                  <a:pt x="613059" y="616762"/>
                </a:cubicBezTo>
                <a:cubicBezTo>
                  <a:pt x="606744" y="635355"/>
                  <a:pt x="605187" y="648462"/>
                  <a:pt x="608387" y="656082"/>
                </a:cubicBezTo>
                <a:cubicBezTo>
                  <a:pt x="611588" y="663702"/>
                  <a:pt x="619284" y="667512"/>
                  <a:pt x="631476" y="667512"/>
                </a:cubicBezTo>
                <a:cubicBezTo>
                  <a:pt x="647935" y="667512"/>
                  <a:pt x="660630" y="660654"/>
                  <a:pt x="669559" y="646938"/>
                </a:cubicBezTo>
                <a:cubicBezTo>
                  <a:pt x="678489" y="633222"/>
                  <a:pt x="687302" y="613562"/>
                  <a:pt x="695998" y="587959"/>
                </a:cubicBezTo>
                <a:lnTo>
                  <a:pt x="697870" y="582472"/>
                </a:lnTo>
                <a:lnTo>
                  <a:pt x="857261" y="116128"/>
                </a:lnTo>
                <a:lnTo>
                  <a:pt x="1016367" y="116128"/>
                </a:lnTo>
                <a:lnTo>
                  <a:pt x="788896" y="785469"/>
                </a:lnTo>
                <a:lnTo>
                  <a:pt x="628876" y="785469"/>
                </a:lnTo>
                <a:lnTo>
                  <a:pt x="653122" y="714146"/>
                </a:lnTo>
                <a:cubicBezTo>
                  <a:pt x="632614" y="742188"/>
                  <a:pt x="612974" y="762304"/>
                  <a:pt x="594200" y="774496"/>
                </a:cubicBezTo>
                <a:cubicBezTo>
                  <a:pt x="575426" y="786688"/>
                  <a:pt x="551714" y="792784"/>
                  <a:pt x="523062" y="792784"/>
                </a:cubicBezTo>
                <a:cubicBezTo>
                  <a:pt x="473075" y="792784"/>
                  <a:pt x="443862" y="777849"/>
                  <a:pt x="435423" y="747979"/>
                </a:cubicBezTo>
                <a:cubicBezTo>
                  <a:pt x="426984" y="718108"/>
                  <a:pt x="432808" y="673608"/>
                  <a:pt x="452896" y="614476"/>
                </a:cubicBezTo>
                <a:close/>
                <a:moveTo>
                  <a:pt x="1270313" y="108813"/>
                </a:moveTo>
                <a:cubicBezTo>
                  <a:pt x="1400158" y="108813"/>
                  <a:pt x="1443120" y="173431"/>
                  <a:pt x="1399201" y="302666"/>
                </a:cubicBezTo>
                <a:lnTo>
                  <a:pt x="1394857" y="315468"/>
                </a:lnTo>
                <a:lnTo>
                  <a:pt x="1229351" y="315468"/>
                </a:lnTo>
                <a:lnTo>
                  <a:pt x="1238052" y="289864"/>
                </a:lnTo>
                <a:cubicBezTo>
                  <a:pt x="1243433" y="274015"/>
                  <a:pt x="1245450" y="260451"/>
                  <a:pt x="1244103" y="249174"/>
                </a:cubicBezTo>
                <a:cubicBezTo>
                  <a:pt x="1242755" y="237896"/>
                  <a:pt x="1235985" y="232257"/>
                  <a:pt x="1223793" y="232257"/>
                </a:cubicBezTo>
                <a:cubicBezTo>
                  <a:pt x="1212820" y="232257"/>
                  <a:pt x="1203350" y="235458"/>
                  <a:pt x="1195382" y="241858"/>
                </a:cubicBezTo>
                <a:cubicBezTo>
                  <a:pt x="1187415" y="248259"/>
                  <a:pt x="1181569" y="256946"/>
                  <a:pt x="1177844" y="267919"/>
                </a:cubicBezTo>
                <a:cubicBezTo>
                  <a:pt x="1169558" y="292303"/>
                  <a:pt x="1172582" y="311200"/>
                  <a:pt x="1186917" y="324612"/>
                </a:cubicBezTo>
                <a:lnTo>
                  <a:pt x="1261126" y="396849"/>
                </a:lnTo>
                <a:cubicBezTo>
                  <a:pt x="1287577" y="423062"/>
                  <a:pt x="1305020" y="451561"/>
                  <a:pt x="1313454" y="482346"/>
                </a:cubicBezTo>
                <a:cubicBezTo>
                  <a:pt x="1321888" y="513130"/>
                  <a:pt x="1318129" y="551992"/>
                  <a:pt x="1302174" y="598932"/>
                </a:cubicBezTo>
                <a:cubicBezTo>
                  <a:pt x="1281048" y="661111"/>
                  <a:pt x="1247108" y="708964"/>
                  <a:pt x="1200354" y="742492"/>
                </a:cubicBezTo>
                <a:cubicBezTo>
                  <a:pt x="1153601" y="776020"/>
                  <a:pt x="1098525" y="792784"/>
                  <a:pt x="1035126" y="792784"/>
                </a:cubicBezTo>
                <a:cubicBezTo>
                  <a:pt x="902843" y="792784"/>
                  <a:pt x="859490" y="725728"/>
                  <a:pt x="905067" y="591616"/>
                </a:cubicBezTo>
                <a:lnTo>
                  <a:pt x="924013" y="538581"/>
                </a:lnTo>
                <a:lnTo>
                  <a:pt x="1084033" y="538581"/>
                </a:lnTo>
                <a:lnTo>
                  <a:pt x="1058215" y="617220"/>
                </a:lnTo>
                <a:cubicBezTo>
                  <a:pt x="1052833" y="633069"/>
                  <a:pt x="1051790" y="645109"/>
                  <a:pt x="1055086" y="653338"/>
                </a:cubicBezTo>
                <a:cubicBezTo>
                  <a:pt x="1058382" y="661568"/>
                  <a:pt x="1067040" y="665683"/>
                  <a:pt x="1081061" y="665683"/>
                </a:cubicBezTo>
                <a:cubicBezTo>
                  <a:pt x="1102397" y="665683"/>
                  <a:pt x="1118970" y="648309"/>
                  <a:pt x="1130781" y="613562"/>
                </a:cubicBezTo>
                <a:cubicBezTo>
                  <a:pt x="1139487" y="587959"/>
                  <a:pt x="1141297" y="567842"/>
                  <a:pt x="1136210" y="553212"/>
                </a:cubicBezTo>
                <a:cubicBezTo>
                  <a:pt x="1131124" y="538581"/>
                  <a:pt x="1120404" y="523036"/>
                  <a:pt x="1104049" y="506577"/>
                </a:cubicBezTo>
                <a:lnTo>
                  <a:pt x="1041384" y="440740"/>
                </a:lnTo>
                <a:cubicBezTo>
                  <a:pt x="1019791" y="418185"/>
                  <a:pt x="1006685" y="394868"/>
                  <a:pt x="1002065" y="370789"/>
                </a:cubicBezTo>
                <a:cubicBezTo>
                  <a:pt x="997445" y="346710"/>
                  <a:pt x="1002594" y="312724"/>
                  <a:pt x="1017510" y="268833"/>
                </a:cubicBezTo>
                <a:cubicBezTo>
                  <a:pt x="1029111" y="234696"/>
                  <a:pt x="1047995" y="205587"/>
                  <a:pt x="1074160" y="181508"/>
                </a:cubicBezTo>
                <a:cubicBezTo>
                  <a:pt x="1100325" y="157429"/>
                  <a:pt x="1130415" y="139293"/>
                  <a:pt x="1164428" y="127101"/>
                </a:cubicBezTo>
                <a:cubicBezTo>
                  <a:pt x="1198442" y="114909"/>
                  <a:pt x="1233737" y="108813"/>
                  <a:pt x="1270313" y="108813"/>
                </a:cubicBezTo>
                <a:close/>
                <a:moveTo>
                  <a:pt x="1586333" y="0"/>
                </a:moveTo>
                <a:lnTo>
                  <a:pt x="1741782" y="0"/>
                </a:lnTo>
                <a:lnTo>
                  <a:pt x="1693618" y="141732"/>
                </a:lnTo>
                <a:lnTo>
                  <a:pt x="1739338" y="141732"/>
                </a:lnTo>
                <a:lnTo>
                  <a:pt x="1698005" y="263347"/>
                </a:lnTo>
                <a:lnTo>
                  <a:pt x="1652285" y="263347"/>
                </a:lnTo>
                <a:lnTo>
                  <a:pt x="1524569" y="639165"/>
                </a:lnTo>
                <a:cubicBezTo>
                  <a:pt x="1520635" y="650748"/>
                  <a:pt x="1518649" y="659282"/>
                  <a:pt x="1518611" y="664768"/>
                </a:cubicBezTo>
                <a:cubicBezTo>
                  <a:pt x="1518573" y="670255"/>
                  <a:pt x="1522516" y="672998"/>
                  <a:pt x="1530441" y="672998"/>
                </a:cubicBezTo>
                <a:cubicBezTo>
                  <a:pt x="1536537" y="672998"/>
                  <a:pt x="1542433" y="672693"/>
                  <a:pt x="1548129" y="672084"/>
                </a:cubicBezTo>
                <a:cubicBezTo>
                  <a:pt x="1553825" y="671474"/>
                  <a:pt x="1557587" y="671169"/>
                  <a:pt x="1559416" y="671169"/>
                </a:cubicBezTo>
                <a:lnTo>
                  <a:pt x="1522125" y="780897"/>
                </a:lnTo>
                <a:cubicBezTo>
                  <a:pt x="1512153" y="783336"/>
                  <a:pt x="1498013" y="785926"/>
                  <a:pt x="1479706" y="788670"/>
                </a:cubicBezTo>
                <a:cubicBezTo>
                  <a:pt x="1461399" y="791413"/>
                  <a:pt x="1444016" y="792784"/>
                  <a:pt x="1427557" y="792784"/>
                </a:cubicBezTo>
                <a:cubicBezTo>
                  <a:pt x="1385494" y="792784"/>
                  <a:pt x="1359543" y="783945"/>
                  <a:pt x="1349704" y="766267"/>
                </a:cubicBezTo>
                <a:cubicBezTo>
                  <a:pt x="1339865" y="748588"/>
                  <a:pt x="1341574" y="720242"/>
                  <a:pt x="1354833" y="681228"/>
                </a:cubicBezTo>
                <a:lnTo>
                  <a:pt x="1496837" y="263347"/>
                </a:lnTo>
                <a:lnTo>
                  <a:pt x="1452031" y="263347"/>
                </a:lnTo>
                <a:lnTo>
                  <a:pt x="1493365" y="141732"/>
                </a:lnTo>
                <a:lnTo>
                  <a:pt x="1538170" y="141732"/>
                </a:lnTo>
                <a:close/>
                <a:moveTo>
                  <a:pt x="445238" y="0"/>
                </a:moveTo>
                <a:lnTo>
                  <a:pt x="603430" y="0"/>
                </a:lnTo>
                <a:lnTo>
                  <a:pt x="403305" y="588873"/>
                </a:lnTo>
                <a:cubicBezTo>
                  <a:pt x="389427" y="629716"/>
                  <a:pt x="369179" y="665530"/>
                  <a:pt x="342561" y="696315"/>
                </a:cubicBezTo>
                <a:cubicBezTo>
                  <a:pt x="315944" y="727100"/>
                  <a:pt x="285309" y="750874"/>
                  <a:pt x="250657" y="767638"/>
                </a:cubicBezTo>
                <a:cubicBezTo>
                  <a:pt x="216005" y="784402"/>
                  <a:pt x="180086" y="792784"/>
                  <a:pt x="142901" y="792784"/>
                </a:cubicBezTo>
                <a:cubicBezTo>
                  <a:pt x="106934" y="792784"/>
                  <a:pt x="76704" y="785774"/>
                  <a:pt x="52211" y="771753"/>
                </a:cubicBezTo>
                <a:cubicBezTo>
                  <a:pt x="27717" y="757732"/>
                  <a:pt x="11696" y="737158"/>
                  <a:pt x="4148" y="710031"/>
                </a:cubicBezTo>
                <a:cubicBezTo>
                  <a:pt x="-3401" y="682904"/>
                  <a:pt x="-646" y="650138"/>
                  <a:pt x="12413" y="611733"/>
                </a:cubicBezTo>
                <a:lnTo>
                  <a:pt x="79221" y="415137"/>
                </a:lnTo>
                <a:lnTo>
                  <a:pt x="233755" y="415137"/>
                </a:lnTo>
                <a:lnTo>
                  <a:pt x="170047" y="602589"/>
                </a:lnTo>
                <a:cubicBezTo>
                  <a:pt x="165284" y="616610"/>
                  <a:pt x="164401" y="627735"/>
                  <a:pt x="167397" y="635965"/>
                </a:cubicBezTo>
                <a:cubicBezTo>
                  <a:pt x="170392" y="644194"/>
                  <a:pt x="177986" y="648309"/>
                  <a:pt x="190178" y="648309"/>
                </a:cubicBezTo>
                <a:cubicBezTo>
                  <a:pt x="201760" y="648309"/>
                  <a:pt x="211740" y="644499"/>
                  <a:pt x="220117" y="636879"/>
                </a:cubicBezTo>
                <a:cubicBezTo>
                  <a:pt x="228495" y="629259"/>
                  <a:pt x="235069" y="618439"/>
                  <a:pt x="239841" y="604418"/>
                </a:cubicBezTo>
                <a:close/>
              </a:path>
            </a:pathLst>
          </a:custGeom>
          <a:solidFill>
            <a:schemeClr val="bg1">
              <a:lumMod val="95000"/>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id-ID" sz="7200" i="1" dirty="0">
              <a:solidFill>
                <a:schemeClr val="bg1">
                  <a:lumMod val="95000"/>
                  <a:alpha val="50000"/>
                </a:schemeClr>
              </a:solidFill>
              <a:latin typeface="Anton" panose="00000500000000000000" pitchFamily="2" charset="0"/>
            </a:endParaRPr>
          </a:p>
        </p:txBody>
      </p:sp>
      <p:grpSp>
        <p:nvGrpSpPr>
          <p:cNvPr id="15" name="Group 14">
            <a:extLst>
              <a:ext uri="{FF2B5EF4-FFF2-40B4-BE49-F238E27FC236}">
                <a16:creationId xmlns:a16="http://schemas.microsoft.com/office/drawing/2014/main" id="{1AD52BDF-F2B3-41EE-908B-FA692B444742}"/>
              </a:ext>
            </a:extLst>
          </p:cNvPr>
          <p:cNvGrpSpPr/>
          <p:nvPr userDrawn="1"/>
        </p:nvGrpSpPr>
        <p:grpSpPr>
          <a:xfrm>
            <a:off x="408587" y="6394749"/>
            <a:ext cx="2268454" cy="261610"/>
            <a:chOff x="242614" y="6328854"/>
            <a:chExt cx="2268454" cy="261610"/>
          </a:xfrm>
        </p:grpSpPr>
        <p:sp>
          <p:nvSpPr>
            <p:cNvPr id="16" name="Freeform 62">
              <a:extLst>
                <a:ext uri="{FF2B5EF4-FFF2-40B4-BE49-F238E27FC236}">
                  <a16:creationId xmlns:a16="http://schemas.microsoft.com/office/drawing/2014/main" id="{510A3EFD-33AB-4592-A920-ED1A82767D97}"/>
                </a:ext>
              </a:extLst>
            </p:cNvPr>
            <p:cNvSpPr>
              <a:spLocks noEditPoints="1"/>
            </p:cNvSpPr>
            <p:nvPr/>
          </p:nvSpPr>
          <p:spPr bwMode="auto">
            <a:xfrm>
              <a:off x="242614" y="6399940"/>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b="0" dirty="0">
                <a:solidFill>
                  <a:schemeClr val="bg1">
                    <a:lumMod val="75000"/>
                  </a:schemeClr>
                </a:solidFill>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008E72F1-6CD7-4977-89AE-96FF6C9ED5CD}"/>
                </a:ext>
              </a:extLst>
            </p:cNvPr>
            <p:cNvSpPr txBox="1"/>
            <p:nvPr/>
          </p:nvSpPr>
          <p:spPr>
            <a:xfrm>
              <a:off x="316236" y="6328854"/>
              <a:ext cx="2194832" cy="261610"/>
            </a:xfrm>
            <a:prstGeom prst="rect">
              <a:avLst/>
            </a:prstGeom>
            <a:noFill/>
          </p:spPr>
          <p:txBody>
            <a:bodyPr wrap="none" rtlCol="0">
              <a:spAutoFit/>
            </a:bodyPr>
            <a:lstStyle/>
            <a:p>
              <a:r>
                <a:rPr lang="en-US" sz="1100" b="0" dirty="0">
                  <a:solidFill>
                    <a:schemeClr val="bg1">
                      <a:lumMod val="75000"/>
                    </a:schemeClr>
                  </a:solidFill>
                  <a:latin typeface="Segoe UI" panose="020B0502040204020203" pitchFamily="34" charset="0"/>
                  <a:cs typeface="Segoe UI" panose="020B0502040204020203" pitchFamily="34" charset="0"/>
                </a:rPr>
                <a:t>201</a:t>
              </a:r>
              <a:r>
                <a:rPr lang="id-ID" sz="1100" dirty="0">
                  <a:solidFill>
                    <a:schemeClr val="bg1">
                      <a:lumMod val="75000"/>
                    </a:schemeClr>
                  </a:solidFill>
                  <a:latin typeface="Segoe UI" panose="020B0502040204020203" pitchFamily="34" charset="0"/>
                  <a:cs typeface="Segoe UI" panose="020B0502040204020203" pitchFamily="34" charset="0"/>
                </a:rPr>
                <a:t>8</a:t>
              </a:r>
              <a:r>
                <a:rPr lang="id-ID" sz="1100" b="0" dirty="0">
                  <a:solidFill>
                    <a:schemeClr val="bg1">
                      <a:lumMod val="75000"/>
                    </a:schemeClr>
                  </a:solidFill>
                  <a:latin typeface="Segoe UI" panose="020B0502040204020203" pitchFamily="34" charset="0"/>
                  <a:cs typeface="Segoe UI" panose="020B0502040204020203" pitchFamily="34" charset="0"/>
                </a:rPr>
                <a:t> Justice</a:t>
              </a:r>
              <a:r>
                <a:rPr lang="en-US" sz="1100" b="0" dirty="0">
                  <a:solidFill>
                    <a:schemeClr val="bg1">
                      <a:lumMod val="75000"/>
                    </a:schemeClr>
                  </a:solidFill>
                  <a:latin typeface="Segoe UI" panose="020B0502040204020203" pitchFamily="34" charset="0"/>
                  <a:cs typeface="Segoe UI" panose="020B0502040204020203" pitchFamily="34" charset="0"/>
                </a:rPr>
                <a:t>.</a:t>
              </a:r>
              <a:r>
                <a:rPr lang="id-ID" sz="1100" b="0" dirty="0">
                  <a:solidFill>
                    <a:schemeClr val="bg1">
                      <a:lumMod val="75000"/>
                    </a:schemeClr>
                  </a:solidFill>
                  <a:latin typeface="Segoe UI" panose="020B0502040204020203" pitchFamily="34" charset="0"/>
                  <a:cs typeface="Segoe UI" panose="020B0502040204020203" pitchFamily="34" charset="0"/>
                </a:rPr>
                <a:t> </a:t>
              </a:r>
              <a:r>
                <a:rPr lang="en-US" sz="1100" b="0" dirty="0">
                  <a:solidFill>
                    <a:schemeClr val="bg1">
                      <a:lumMod val="75000"/>
                    </a:schemeClr>
                  </a:solidFill>
                  <a:latin typeface="Segoe UI" panose="020B0502040204020203" pitchFamily="34" charset="0"/>
                  <a:cs typeface="Segoe UI" panose="020B0502040204020203" pitchFamily="34" charset="0"/>
                </a:rPr>
                <a:t>All Rights Reserved</a:t>
              </a:r>
              <a:endParaRPr lang="id-ID" sz="1100" b="0" dirty="0">
                <a:solidFill>
                  <a:schemeClr val="bg1">
                    <a:lumMod val="75000"/>
                  </a:schemeClr>
                </a:solidFill>
                <a:latin typeface="Segoe UI" panose="020B0502040204020203" pitchFamily="34" charset="0"/>
                <a:cs typeface="Segoe UI" panose="020B0502040204020203" pitchFamily="34" charset="0"/>
              </a:endParaRPr>
            </a:p>
          </p:txBody>
        </p:sp>
      </p:grpSp>
      <p:sp>
        <p:nvSpPr>
          <p:cNvPr id="18" name="TextBox 17">
            <a:extLst>
              <a:ext uri="{FF2B5EF4-FFF2-40B4-BE49-F238E27FC236}">
                <a16:creationId xmlns:a16="http://schemas.microsoft.com/office/drawing/2014/main" id="{90950991-1E59-4A09-917A-24E2F8026690}"/>
              </a:ext>
            </a:extLst>
          </p:cNvPr>
          <p:cNvSpPr txBox="1"/>
          <p:nvPr userDrawn="1"/>
        </p:nvSpPr>
        <p:spPr>
          <a:xfrm rot="16200000">
            <a:off x="-967865" y="3313584"/>
            <a:ext cx="2643554" cy="230832"/>
          </a:xfrm>
          <a:prstGeom prst="rect">
            <a:avLst/>
          </a:prstGeom>
          <a:noFill/>
        </p:spPr>
        <p:txBody>
          <a:bodyPr wrap="square" rtlCol="0">
            <a:spAutoFit/>
          </a:bodyPr>
          <a:lstStyle/>
          <a:p>
            <a:pPr algn="ctr"/>
            <a:r>
              <a:rPr lang="id-ID" sz="900" strike="noStrike" spc="600" dirty="0">
                <a:solidFill>
                  <a:schemeClr val="bg1">
                    <a:lumMod val="85000"/>
                  </a:schemeClr>
                </a:solidFill>
                <a:latin typeface="Segoe UI" panose="020B0502040204020203" pitchFamily="34" charset="0"/>
                <a:cs typeface="Segoe UI" panose="020B0502040204020203" pitchFamily="34" charset="0"/>
              </a:rPr>
              <a:t>WWW.WEBSITE.COM</a:t>
            </a:r>
          </a:p>
        </p:txBody>
      </p:sp>
      <p:sp>
        <p:nvSpPr>
          <p:cNvPr id="25" name="Title 2">
            <a:extLst>
              <a:ext uri="{FF2B5EF4-FFF2-40B4-BE49-F238E27FC236}">
                <a16:creationId xmlns:a16="http://schemas.microsoft.com/office/drawing/2014/main" id="{442DB56D-FBCE-427D-BA2B-E8D93F797D15}"/>
              </a:ext>
            </a:extLst>
          </p:cNvPr>
          <p:cNvSpPr>
            <a:spLocks noGrp="1"/>
          </p:cNvSpPr>
          <p:nvPr>
            <p:ph type="title"/>
          </p:nvPr>
        </p:nvSpPr>
        <p:spPr>
          <a:xfrm>
            <a:off x="803729" y="568326"/>
            <a:ext cx="10584543" cy="492124"/>
          </a:xfrm>
          <a:prstGeom prst="rect">
            <a:avLst/>
          </a:prstGeom>
        </p:spPr>
        <p:txBody>
          <a:bodyPr anchor="ctr"/>
          <a:lstStyle>
            <a:lvl1pPr algn="ctr">
              <a:defRPr sz="36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26" name="Group 25">
            <a:extLst>
              <a:ext uri="{FF2B5EF4-FFF2-40B4-BE49-F238E27FC236}">
                <a16:creationId xmlns:a16="http://schemas.microsoft.com/office/drawing/2014/main" id="{ADEA6E59-556F-429A-8AF2-5FAE6E06EC0E}"/>
              </a:ext>
            </a:extLst>
          </p:cNvPr>
          <p:cNvGrpSpPr/>
          <p:nvPr userDrawn="1"/>
        </p:nvGrpSpPr>
        <p:grpSpPr>
          <a:xfrm>
            <a:off x="5628843" y="1351915"/>
            <a:ext cx="934314" cy="45719"/>
            <a:chOff x="887636" y="1148715"/>
            <a:chExt cx="934314" cy="45719"/>
          </a:xfrm>
        </p:grpSpPr>
        <p:sp>
          <p:nvSpPr>
            <p:cNvPr id="27" name="Freeform: Shape 26">
              <a:extLst>
                <a:ext uri="{FF2B5EF4-FFF2-40B4-BE49-F238E27FC236}">
                  <a16:creationId xmlns:a16="http://schemas.microsoft.com/office/drawing/2014/main" id="{C52A9C8B-8E3B-465A-8CB1-72298BE47E87}"/>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8" name="Freeform: Shape 27">
              <a:extLst>
                <a:ext uri="{FF2B5EF4-FFF2-40B4-BE49-F238E27FC236}">
                  <a16:creationId xmlns:a16="http://schemas.microsoft.com/office/drawing/2014/main" id="{D8354BD7-FB0B-475A-A6BF-650C65ECFB71}"/>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9" name="Freeform: Shape 28">
              <a:extLst>
                <a:ext uri="{FF2B5EF4-FFF2-40B4-BE49-F238E27FC236}">
                  <a16:creationId xmlns:a16="http://schemas.microsoft.com/office/drawing/2014/main" id="{1483CCDE-A3ED-4353-91AD-AE644BC3DA37}"/>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
        <p:nvSpPr>
          <p:cNvPr id="30" name="Content Placeholder 11">
            <a:extLst>
              <a:ext uri="{FF2B5EF4-FFF2-40B4-BE49-F238E27FC236}">
                <a16:creationId xmlns:a16="http://schemas.microsoft.com/office/drawing/2014/main" id="{E86DB3DB-72B9-481C-B5E3-84D7980876B7}"/>
              </a:ext>
            </a:extLst>
          </p:cNvPr>
          <p:cNvSpPr>
            <a:spLocks noGrp="1"/>
          </p:cNvSpPr>
          <p:nvPr>
            <p:ph sz="quarter" idx="11"/>
          </p:nvPr>
        </p:nvSpPr>
        <p:spPr>
          <a:xfrm>
            <a:off x="803729" y="1042673"/>
            <a:ext cx="10584542" cy="327019"/>
          </a:xfrm>
          <a:prstGeom prst="rect">
            <a:avLst/>
          </a:prstGeom>
        </p:spPr>
        <p:txBody>
          <a:bodyPr anchor="t"/>
          <a:lstStyle>
            <a:lvl1pPr marL="0" indent="0" algn="ctr">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531573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100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2" presetClass="entr" presetSubtype="1" decel="100000" fill="hold" grpId="0" nodeType="with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1000" fill="hold"/>
                                        <p:tgtEl>
                                          <p:spTgt spid="25"/>
                                        </p:tgtEl>
                                        <p:attrNameLst>
                                          <p:attrName>ppt_x</p:attrName>
                                        </p:attrNameLst>
                                      </p:cBhvr>
                                      <p:tavLst>
                                        <p:tav tm="0">
                                          <p:val>
                                            <p:strVal val="#ppt_x"/>
                                          </p:val>
                                        </p:tav>
                                        <p:tav tm="100000">
                                          <p:val>
                                            <p:strVal val="#ppt_x"/>
                                          </p:val>
                                        </p:tav>
                                      </p:tavLst>
                                    </p:anim>
                                    <p:anim calcmode="lin" valueType="num">
                                      <p:cBhvr additive="base">
                                        <p:cTn id="13" dur="1000" fill="hold"/>
                                        <p:tgtEl>
                                          <p:spTgt spid="25"/>
                                        </p:tgtEl>
                                        <p:attrNameLst>
                                          <p:attrName>ppt_y</p:attrName>
                                        </p:attrNameLst>
                                      </p:cBhvr>
                                      <p:tavLst>
                                        <p:tav tm="0">
                                          <p:val>
                                            <p:strVal val="0-#ppt_h/2"/>
                                          </p:val>
                                        </p:tav>
                                        <p:tav tm="100000">
                                          <p:val>
                                            <p:strVal val="#ppt_y"/>
                                          </p:val>
                                        </p:tav>
                                      </p:tavLst>
                                    </p:anim>
                                  </p:childTnLst>
                                </p:cTn>
                              </p:par>
                              <p:par>
                                <p:cTn id="14" presetID="2" presetClass="entr" presetSubtype="1" decel="10000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1200" fill="hold"/>
                                        <p:tgtEl>
                                          <p:spTgt spid="30"/>
                                        </p:tgtEl>
                                        <p:attrNameLst>
                                          <p:attrName>ppt_x</p:attrName>
                                        </p:attrNameLst>
                                      </p:cBhvr>
                                      <p:tavLst>
                                        <p:tav tm="0">
                                          <p:val>
                                            <p:strVal val="#ppt_x"/>
                                          </p:val>
                                        </p:tav>
                                        <p:tav tm="100000">
                                          <p:val>
                                            <p:strVal val="#ppt_x"/>
                                          </p:val>
                                        </p:tav>
                                      </p:tavLst>
                                    </p:anim>
                                    <p:anim calcmode="lin" valueType="num">
                                      <p:cBhvr additive="base">
                                        <p:cTn id="17" dur="1200" fill="hold"/>
                                        <p:tgtEl>
                                          <p:spTgt spid="30"/>
                                        </p:tgtEl>
                                        <p:attrNameLst>
                                          <p:attrName>ppt_y</p:attrName>
                                        </p:attrNameLst>
                                      </p:cBhvr>
                                      <p:tavLst>
                                        <p:tav tm="0">
                                          <p:val>
                                            <p:strVal val="0-#ppt_h/2"/>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wipe(left)">
                                      <p:cBhvr>
                                        <p:cTn id="20" dur="500"/>
                                        <p:tgtEl>
                                          <p:spTgt spid="26"/>
                                        </p:tgtEl>
                                      </p:cBhvr>
                                    </p:animEffect>
                                  </p:childTnLst>
                                </p:cTn>
                              </p:par>
                              <p:par>
                                <p:cTn id="21" presetID="2" presetClass="entr" presetSubtype="8" decel="100000" fill="hold" grpId="0" nodeType="withEffect">
                                  <p:stCondLst>
                                    <p:cond delay="25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1000" fill="hold"/>
                                        <p:tgtEl>
                                          <p:spTgt spid="6"/>
                                        </p:tgtEl>
                                        <p:attrNameLst>
                                          <p:attrName>ppt_x</p:attrName>
                                        </p:attrNameLst>
                                      </p:cBhvr>
                                      <p:tavLst>
                                        <p:tav tm="0">
                                          <p:val>
                                            <p:strVal val="0-#ppt_w/2"/>
                                          </p:val>
                                        </p:tav>
                                        <p:tav tm="100000">
                                          <p:val>
                                            <p:strVal val="#ppt_x"/>
                                          </p:val>
                                        </p:tav>
                                      </p:tavLst>
                                    </p:anim>
                                    <p:anim calcmode="lin" valueType="num">
                                      <p:cBhvr additive="base">
                                        <p:cTn id="24" dur="10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nodePh="1">
                                  <p:stCondLst>
                                    <p:cond delay="250"/>
                                  </p:stCondLst>
                                  <p:endCondLst>
                                    <p:cond evt="begin" delay="0">
                                      <p:tn val="25"/>
                                    </p:cond>
                                  </p:end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750" fill="hold"/>
                                        <p:tgtEl>
                                          <p:spTgt spid="5"/>
                                        </p:tgtEl>
                                        <p:attrNameLst>
                                          <p:attrName>ppt_x</p:attrName>
                                        </p:attrNameLst>
                                      </p:cBhvr>
                                      <p:tavLst>
                                        <p:tav tm="0">
                                          <p:val>
                                            <p:strVal val="0-#ppt_w/2"/>
                                          </p:val>
                                        </p:tav>
                                        <p:tav tm="100000">
                                          <p:val>
                                            <p:strVal val="#ppt_x"/>
                                          </p:val>
                                        </p:tav>
                                      </p:tavLst>
                                    </p:anim>
                                    <p:anim calcmode="lin" valueType="num">
                                      <p:cBhvr additive="base">
                                        <p:cTn id="28"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p:bldP spid="13" grpId="0" animBg="1"/>
      <p:bldP spid="25" grpId="0"/>
      <p:bldP spid="30" grpId="0">
        <p:tmplLst>
          <p:tmpl>
            <p:tnLst>
              <p:par>
                <p:cTn presetID="2" presetClass="entr" presetSubtype="1" decel="100000" fill="hold" nodeType="withEffect">
                  <p:stCondLst>
                    <p:cond delay="0"/>
                  </p:stCondLst>
                  <p:childTnLst>
                    <p:set>
                      <p:cBhvr>
                        <p:cTn dur="1" fill="hold">
                          <p:stCondLst>
                            <p:cond delay="0"/>
                          </p:stCondLst>
                        </p:cTn>
                        <p:tgtEl>
                          <p:spTgt spid="30"/>
                        </p:tgtEl>
                        <p:attrNameLst>
                          <p:attrName>style.visibility</p:attrName>
                        </p:attrNameLst>
                      </p:cBhvr>
                      <p:to>
                        <p:strVal val="visible"/>
                      </p:to>
                    </p:set>
                    <p:anim calcmode="lin" valueType="num">
                      <p:cBhvr additive="base">
                        <p:cTn dur="1200" fill="hold"/>
                        <p:tgtEl>
                          <p:spTgt spid="30"/>
                        </p:tgtEl>
                        <p:attrNameLst>
                          <p:attrName>ppt_x</p:attrName>
                        </p:attrNameLst>
                      </p:cBhvr>
                      <p:tavLst>
                        <p:tav tm="0">
                          <p:val>
                            <p:strVal val="#ppt_x"/>
                          </p:val>
                        </p:tav>
                        <p:tav tm="100000">
                          <p:val>
                            <p:strVal val="#ppt_x"/>
                          </p:val>
                        </p:tav>
                      </p:tavLst>
                    </p:anim>
                    <p:anim calcmode="lin" valueType="num">
                      <p:cBhvr additive="base">
                        <p:cTn dur="1200" fill="hold"/>
                        <p:tgtEl>
                          <p:spTgt spid="30"/>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3" name="Content Placeholder 11">
            <a:extLst>
              <a:ext uri="{FF2B5EF4-FFF2-40B4-BE49-F238E27FC236}">
                <a16:creationId xmlns:a16="http://schemas.microsoft.com/office/drawing/2014/main" id="{78694C81-BBAB-438B-84B4-9BA3667F262E}"/>
              </a:ext>
            </a:extLst>
          </p:cNvPr>
          <p:cNvSpPr>
            <a:spLocks noGrp="1"/>
          </p:cNvSpPr>
          <p:nvPr>
            <p:ph sz="quarter" idx="10"/>
          </p:nvPr>
        </p:nvSpPr>
        <p:spPr>
          <a:xfrm>
            <a:off x="803729" y="2316837"/>
            <a:ext cx="6721332" cy="251103"/>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
        <p:nvSpPr>
          <p:cNvPr id="9" name="Picture Placeholder 8"/>
          <p:cNvSpPr>
            <a:spLocks noGrp="1"/>
          </p:cNvSpPr>
          <p:nvPr>
            <p:ph type="pic" sz="quarter" idx="12"/>
          </p:nvPr>
        </p:nvSpPr>
        <p:spPr>
          <a:xfrm>
            <a:off x="4061969" y="0"/>
            <a:ext cx="14923135" cy="9906000"/>
          </a:xfrm>
          <a:custGeom>
            <a:avLst/>
            <a:gdLst>
              <a:gd name="connsiteX0" fmla="*/ 330699 w 14923135"/>
              <a:gd name="connsiteY0" fmla="*/ 0 h 9906000"/>
              <a:gd name="connsiteX1" fmla="*/ 4609246 w 14923135"/>
              <a:gd name="connsiteY1" fmla="*/ 0 h 9906000"/>
              <a:gd name="connsiteX2" fmla="*/ 7399595 w 14923135"/>
              <a:gd name="connsiteY2" fmla="*/ 2886919 h 9906000"/>
              <a:gd name="connsiteX3" fmla="*/ 10189943 w 14923135"/>
              <a:gd name="connsiteY3" fmla="*/ 0 h 9906000"/>
              <a:gd name="connsiteX4" fmla="*/ 14509823 w 14923135"/>
              <a:gd name="connsiteY4" fmla="*/ 0 h 9906000"/>
              <a:gd name="connsiteX5" fmla="*/ 9735228 w 14923135"/>
              <a:gd name="connsiteY5" fmla="*/ 4726602 h 9906000"/>
              <a:gd name="connsiteX6" fmla="*/ 14923135 w 14923135"/>
              <a:gd name="connsiteY6" fmla="*/ 9906000 h 9906000"/>
              <a:gd name="connsiteX7" fmla="*/ 10520653 w 14923135"/>
              <a:gd name="connsiteY7" fmla="*/ 9906000 h 9906000"/>
              <a:gd name="connsiteX8" fmla="*/ 7399595 w 14923135"/>
              <a:gd name="connsiteY8" fmla="*/ 6750248 h 9906000"/>
              <a:gd name="connsiteX9" fmla="*/ 4278536 w 14923135"/>
              <a:gd name="connsiteY9" fmla="*/ 9906000 h 9906000"/>
              <a:gd name="connsiteX10" fmla="*/ 0 w 14923135"/>
              <a:gd name="connsiteY10" fmla="*/ 9906000 h 9906000"/>
              <a:gd name="connsiteX11" fmla="*/ 5167313 w 14923135"/>
              <a:gd name="connsiteY11" fmla="*/ 4839811 h 99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23135" h="9906000">
                <a:moveTo>
                  <a:pt x="330699" y="0"/>
                </a:moveTo>
                <a:lnTo>
                  <a:pt x="4609246" y="0"/>
                </a:lnTo>
                <a:lnTo>
                  <a:pt x="7399595" y="2886919"/>
                </a:lnTo>
                <a:lnTo>
                  <a:pt x="10189943" y="0"/>
                </a:lnTo>
                <a:lnTo>
                  <a:pt x="14509823" y="0"/>
                </a:lnTo>
                <a:lnTo>
                  <a:pt x="9735228" y="4726602"/>
                </a:lnTo>
                <a:lnTo>
                  <a:pt x="14923135" y="9906000"/>
                </a:lnTo>
                <a:lnTo>
                  <a:pt x="10520653" y="9906000"/>
                </a:lnTo>
                <a:lnTo>
                  <a:pt x="7399595" y="6750248"/>
                </a:lnTo>
                <a:lnTo>
                  <a:pt x="4278536" y="9906000"/>
                </a:lnTo>
                <a:lnTo>
                  <a:pt x="0" y="9906000"/>
                </a:lnTo>
                <a:lnTo>
                  <a:pt x="5167313" y="4839811"/>
                </a:lnTo>
                <a:close/>
              </a:path>
            </a:pathLst>
          </a:custGeom>
        </p:spPr>
        <p:txBody>
          <a:bodyPr wrap="square">
            <a:noAutofit/>
          </a:bodyPr>
          <a:lstStyle>
            <a:lvl1pPr marL="0" indent="0" algn="ctr">
              <a:buNone/>
              <a:defRPr>
                <a:solidFill>
                  <a:schemeClr val="bg1">
                    <a:lumMod val="65000"/>
                  </a:schemeClr>
                </a:solidFill>
              </a:defRPr>
            </a:lvl1pPr>
          </a:lstStyle>
          <a:p>
            <a:endParaRPr lang="id-ID" dirty="0"/>
          </a:p>
        </p:txBody>
      </p:sp>
      <p:sp>
        <p:nvSpPr>
          <p:cNvPr id="5" name="Title 2">
            <a:extLst>
              <a:ext uri="{FF2B5EF4-FFF2-40B4-BE49-F238E27FC236}">
                <a16:creationId xmlns:a16="http://schemas.microsoft.com/office/drawing/2014/main" id="{9CE0C5C2-4C3F-4EC3-9DEC-4A444814F56B}"/>
              </a:ext>
            </a:extLst>
          </p:cNvPr>
          <p:cNvSpPr>
            <a:spLocks noGrp="1"/>
          </p:cNvSpPr>
          <p:nvPr>
            <p:ph type="title"/>
          </p:nvPr>
        </p:nvSpPr>
        <p:spPr>
          <a:xfrm>
            <a:off x="803729" y="1139804"/>
            <a:ext cx="6721331" cy="1149090"/>
          </a:xfrm>
          <a:prstGeom prst="rect">
            <a:avLst/>
          </a:prstGeom>
        </p:spPr>
        <p:txBody>
          <a:bodyPr anchor="ctr"/>
          <a:lstStyle>
            <a:lvl1pPr algn="l">
              <a:defRPr sz="44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8" name="Group 7">
            <a:extLst>
              <a:ext uri="{FF2B5EF4-FFF2-40B4-BE49-F238E27FC236}">
                <a16:creationId xmlns:a16="http://schemas.microsoft.com/office/drawing/2014/main" id="{BD4F8173-DDCA-42E0-9E75-917424D9A32C}"/>
              </a:ext>
            </a:extLst>
          </p:cNvPr>
          <p:cNvGrpSpPr/>
          <p:nvPr userDrawn="1"/>
        </p:nvGrpSpPr>
        <p:grpSpPr>
          <a:xfrm>
            <a:off x="887636" y="2626079"/>
            <a:ext cx="934314" cy="45719"/>
            <a:chOff x="887636" y="1148715"/>
            <a:chExt cx="934314" cy="45719"/>
          </a:xfrm>
        </p:grpSpPr>
        <p:sp>
          <p:nvSpPr>
            <p:cNvPr id="10" name="Freeform: Shape 9">
              <a:extLst>
                <a:ext uri="{FF2B5EF4-FFF2-40B4-BE49-F238E27FC236}">
                  <a16:creationId xmlns:a16="http://schemas.microsoft.com/office/drawing/2014/main" id="{2A00D39B-AC6F-4C95-BE89-1B7386AED3FF}"/>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1" name="Freeform: Shape 10">
              <a:extLst>
                <a:ext uri="{FF2B5EF4-FFF2-40B4-BE49-F238E27FC236}">
                  <a16:creationId xmlns:a16="http://schemas.microsoft.com/office/drawing/2014/main" id="{1EE4BFD2-9304-49BA-89E7-42F94C418F4A}"/>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2" name="Freeform: Shape 11">
              <a:extLst>
                <a:ext uri="{FF2B5EF4-FFF2-40B4-BE49-F238E27FC236}">
                  <a16:creationId xmlns:a16="http://schemas.microsoft.com/office/drawing/2014/main" id="{59AF5980-E827-41AD-BC45-B938CC8A93E5}"/>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grpSp>
    </p:spTree>
    <p:extLst>
      <p:ext uri="{BB962C8B-B14F-4D97-AF65-F5344CB8AC3E}">
        <p14:creationId xmlns:p14="http://schemas.microsoft.com/office/powerpoint/2010/main" val="1717590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200" fill="hold"/>
                                        <p:tgtEl>
                                          <p:spTgt spid="13"/>
                                        </p:tgtEl>
                                        <p:attrNameLst>
                                          <p:attrName>ppt_x</p:attrName>
                                        </p:attrNameLst>
                                      </p:cBhvr>
                                      <p:tavLst>
                                        <p:tav tm="0">
                                          <p:val>
                                            <p:strVal val="0-#ppt_w/2"/>
                                          </p:val>
                                        </p:tav>
                                        <p:tav tm="100000">
                                          <p:val>
                                            <p:strVal val="#ppt_x"/>
                                          </p:val>
                                        </p:tav>
                                      </p:tavLst>
                                    </p:anim>
                                    <p:anim calcmode="lin" valueType="num">
                                      <p:cBhvr additive="base">
                                        <p:cTn id="12" dur="1200" fill="hold"/>
                                        <p:tgtEl>
                                          <p:spTgt spid="13"/>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tmplLst>
          <p:tmpl>
            <p:tnLst>
              <p:par>
                <p:cTn presetID="2" presetClass="entr" presetSubtype="8" decel="10000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1200" fill="hold"/>
                        <p:tgtEl>
                          <p:spTgt spid="13"/>
                        </p:tgtEl>
                        <p:attrNameLst>
                          <p:attrName>ppt_x</p:attrName>
                        </p:attrNameLst>
                      </p:cBhvr>
                      <p:tavLst>
                        <p:tav tm="0">
                          <p:val>
                            <p:strVal val="0-#ppt_w/2"/>
                          </p:val>
                        </p:tav>
                        <p:tav tm="100000">
                          <p:val>
                            <p:strVal val="#ppt_x"/>
                          </p:val>
                        </p:tav>
                      </p:tavLst>
                    </p:anim>
                    <p:anim calcmode="lin" valueType="num">
                      <p:cBhvr additive="base">
                        <p:cTn dur="1200" fill="hold"/>
                        <p:tgtEl>
                          <p:spTgt spid="13"/>
                        </p:tgtEl>
                        <p:attrNameLst>
                          <p:attrName>ppt_y</p:attrName>
                        </p:attrNameLst>
                      </p:cBhvr>
                      <p:tavLst>
                        <p:tav tm="0">
                          <p:val>
                            <p:strVal val="#ppt_y"/>
                          </p:val>
                        </p:tav>
                        <p:tav tm="100000">
                          <p:val>
                            <p:strVal val="#ppt_y"/>
                          </p:val>
                        </p:tav>
                      </p:tavLst>
                    </p:anim>
                  </p:childTnLst>
                </p:cTn>
              </p:par>
            </p:tnLst>
          </p:tmpl>
        </p:tmplLst>
      </p:bldP>
      <p:bldP spid="5"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Picture Placeholder 8"/>
          <p:cNvSpPr>
            <a:spLocks noGrp="1"/>
          </p:cNvSpPr>
          <p:nvPr>
            <p:ph type="pic" sz="quarter" idx="12"/>
          </p:nvPr>
        </p:nvSpPr>
        <p:spPr>
          <a:xfrm>
            <a:off x="4061969" y="-6902246"/>
            <a:ext cx="14923135" cy="9906000"/>
          </a:xfrm>
          <a:custGeom>
            <a:avLst/>
            <a:gdLst>
              <a:gd name="connsiteX0" fmla="*/ 330699 w 14923135"/>
              <a:gd name="connsiteY0" fmla="*/ 0 h 9906000"/>
              <a:gd name="connsiteX1" fmla="*/ 4609246 w 14923135"/>
              <a:gd name="connsiteY1" fmla="*/ 0 h 9906000"/>
              <a:gd name="connsiteX2" fmla="*/ 7399595 w 14923135"/>
              <a:gd name="connsiteY2" fmla="*/ 2886919 h 9906000"/>
              <a:gd name="connsiteX3" fmla="*/ 10189943 w 14923135"/>
              <a:gd name="connsiteY3" fmla="*/ 0 h 9906000"/>
              <a:gd name="connsiteX4" fmla="*/ 14509823 w 14923135"/>
              <a:gd name="connsiteY4" fmla="*/ 0 h 9906000"/>
              <a:gd name="connsiteX5" fmla="*/ 9735228 w 14923135"/>
              <a:gd name="connsiteY5" fmla="*/ 4726602 h 9906000"/>
              <a:gd name="connsiteX6" fmla="*/ 14923135 w 14923135"/>
              <a:gd name="connsiteY6" fmla="*/ 9906000 h 9906000"/>
              <a:gd name="connsiteX7" fmla="*/ 10520653 w 14923135"/>
              <a:gd name="connsiteY7" fmla="*/ 9906000 h 9906000"/>
              <a:gd name="connsiteX8" fmla="*/ 7399595 w 14923135"/>
              <a:gd name="connsiteY8" fmla="*/ 6750248 h 9906000"/>
              <a:gd name="connsiteX9" fmla="*/ 4278536 w 14923135"/>
              <a:gd name="connsiteY9" fmla="*/ 9906000 h 9906000"/>
              <a:gd name="connsiteX10" fmla="*/ 0 w 14923135"/>
              <a:gd name="connsiteY10" fmla="*/ 9906000 h 9906000"/>
              <a:gd name="connsiteX11" fmla="*/ 5167313 w 14923135"/>
              <a:gd name="connsiteY11" fmla="*/ 4839811 h 99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23135" h="9906000">
                <a:moveTo>
                  <a:pt x="330699" y="0"/>
                </a:moveTo>
                <a:lnTo>
                  <a:pt x="4609246" y="0"/>
                </a:lnTo>
                <a:lnTo>
                  <a:pt x="7399595" y="2886919"/>
                </a:lnTo>
                <a:lnTo>
                  <a:pt x="10189943" y="0"/>
                </a:lnTo>
                <a:lnTo>
                  <a:pt x="14509823" y="0"/>
                </a:lnTo>
                <a:lnTo>
                  <a:pt x="9735228" y="4726602"/>
                </a:lnTo>
                <a:lnTo>
                  <a:pt x="14923135" y="9906000"/>
                </a:lnTo>
                <a:lnTo>
                  <a:pt x="10520653" y="9906000"/>
                </a:lnTo>
                <a:lnTo>
                  <a:pt x="7399595" y="6750248"/>
                </a:lnTo>
                <a:lnTo>
                  <a:pt x="4278536" y="9906000"/>
                </a:lnTo>
                <a:lnTo>
                  <a:pt x="0" y="9906000"/>
                </a:lnTo>
                <a:lnTo>
                  <a:pt x="5167313" y="4839811"/>
                </a:lnTo>
                <a:close/>
              </a:path>
            </a:pathLst>
          </a:custGeom>
        </p:spPr>
        <p:txBody>
          <a:bodyPr wrap="square" anchor="b">
            <a:noAutofit/>
          </a:bodyPr>
          <a:lstStyle>
            <a:lvl1pPr marL="0" indent="0" algn="ctr">
              <a:buNone/>
              <a:defRPr>
                <a:solidFill>
                  <a:schemeClr val="bg1">
                    <a:lumMod val="65000"/>
                  </a:schemeClr>
                </a:solidFill>
              </a:defRPr>
            </a:lvl1pPr>
          </a:lstStyle>
          <a:p>
            <a:endParaRPr lang="id-ID" dirty="0"/>
          </a:p>
        </p:txBody>
      </p:sp>
    </p:spTree>
    <p:extLst>
      <p:ext uri="{BB962C8B-B14F-4D97-AF65-F5344CB8AC3E}">
        <p14:creationId xmlns:p14="http://schemas.microsoft.com/office/powerpoint/2010/main" val="16210508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9B49CFC9-FBCE-4717-9576-F9105D224678}"/>
              </a:ext>
            </a:extLst>
          </p:cNvPr>
          <p:cNvSpPr/>
          <p:nvPr userDrawn="1"/>
        </p:nvSpPr>
        <p:spPr>
          <a:xfrm>
            <a:off x="1852232" y="1264921"/>
            <a:ext cx="14016418" cy="3476116"/>
          </a:xfrm>
          <a:custGeom>
            <a:avLst/>
            <a:gdLst>
              <a:gd name="connsiteX0" fmla="*/ 3496830 w 14016418"/>
              <a:gd name="connsiteY0" fmla="*/ 0 h 3476116"/>
              <a:gd name="connsiteX1" fmla="*/ 14016418 w 14016418"/>
              <a:gd name="connsiteY1" fmla="*/ 0 h 3476116"/>
              <a:gd name="connsiteX2" fmla="*/ 10572907 w 14016418"/>
              <a:gd name="connsiteY2" fmla="*/ 3476116 h 3476116"/>
              <a:gd name="connsiteX3" fmla="*/ 14459 w 14016418"/>
              <a:gd name="connsiteY3" fmla="*/ 3476116 h 3476116"/>
              <a:gd name="connsiteX4" fmla="*/ 0 w 14016418"/>
              <a:gd name="connsiteY4" fmla="*/ 3461681 h 3476116"/>
              <a:gd name="connsiteX5" fmla="*/ 3496830 w 14016418"/>
              <a:gd name="connsiteY5" fmla="*/ 0 h 347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6418" h="3476116">
                <a:moveTo>
                  <a:pt x="3496830" y="0"/>
                </a:moveTo>
                <a:lnTo>
                  <a:pt x="14016418" y="0"/>
                </a:lnTo>
                <a:lnTo>
                  <a:pt x="10572907" y="3476116"/>
                </a:lnTo>
                <a:lnTo>
                  <a:pt x="14459" y="3476116"/>
                </a:lnTo>
                <a:lnTo>
                  <a:pt x="0" y="3461681"/>
                </a:lnTo>
                <a:lnTo>
                  <a:pt x="349683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p>
        </p:txBody>
      </p:sp>
      <p:sp>
        <p:nvSpPr>
          <p:cNvPr id="9" name="Picture Placeholder 8"/>
          <p:cNvSpPr>
            <a:spLocks noGrp="1"/>
          </p:cNvSpPr>
          <p:nvPr>
            <p:ph type="pic" sz="quarter" idx="12"/>
          </p:nvPr>
        </p:nvSpPr>
        <p:spPr>
          <a:xfrm>
            <a:off x="-8149696" y="0"/>
            <a:ext cx="14923135" cy="9906000"/>
          </a:xfrm>
          <a:custGeom>
            <a:avLst/>
            <a:gdLst>
              <a:gd name="connsiteX0" fmla="*/ 330699 w 14923135"/>
              <a:gd name="connsiteY0" fmla="*/ 0 h 9906000"/>
              <a:gd name="connsiteX1" fmla="*/ 4609246 w 14923135"/>
              <a:gd name="connsiteY1" fmla="*/ 0 h 9906000"/>
              <a:gd name="connsiteX2" fmla="*/ 7399595 w 14923135"/>
              <a:gd name="connsiteY2" fmla="*/ 2886919 h 9906000"/>
              <a:gd name="connsiteX3" fmla="*/ 10189943 w 14923135"/>
              <a:gd name="connsiteY3" fmla="*/ 0 h 9906000"/>
              <a:gd name="connsiteX4" fmla="*/ 14509823 w 14923135"/>
              <a:gd name="connsiteY4" fmla="*/ 0 h 9906000"/>
              <a:gd name="connsiteX5" fmla="*/ 9735228 w 14923135"/>
              <a:gd name="connsiteY5" fmla="*/ 4726602 h 9906000"/>
              <a:gd name="connsiteX6" fmla="*/ 14923135 w 14923135"/>
              <a:gd name="connsiteY6" fmla="*/ 9906000 h 9906000"/>
              <a:gd name="connsiteX7" fmla="*/ 10520653 w 14923135"/>
              <a:gd name="connsiteY7" fmla="*/ 9906000 h 9906000"/>
              <a:gd name="connsiteX8" fmla="*/ 7399595 w 14923135"/>
              <a:gd name="connsiteY8" fmla="*/ 6750248 h 9906000"/>
              <a:gd name="connsiteX9" fmla="*/ 4278536 w 14923135"/>
              <a:gd name="connsiteY9" fmla="*/ 9906000 h 9906000"/>
              <a:gd name="connsiteX10" fmla="*/ 0 w 14923135"/>
              <a:gd name="connsiteY10" fmla="*/ 9906000 h 9906000"/>
              <a:gd name="connsiteX11" fmla="*/ 5167313 w 14923135"/>
              <a:gd name="connsiteY11" fmla="*/ 4839811 h 99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23135" h="9906000">
                <a:moveTo>
                  <a:pt x="330699" y="0"/>
                </a:moveTo>
                <a:lnTo>
                  <a:pt x="4609246" y="0"/>
                </a:lnTo>
                <a:lnTo>
                  <a:pt x="7399595" y="2886919"/>
                </a:lnTo>
                <a:lnTo>
                  <a:pt x="10189943" y="0"/>
                </a:lnTo>
                <a:lnTo>
                  <a:pt x="14509823" y="0"/>
                </a:lnTo>
                <a:lnTo>
                  <a:pt x="9735228" y="4726602"/>
                </a:lnTo>
                <a:lnTo>
                  <a:pt x="14923135" y="9906000"/>
                </a:lnTo>
                <a:lnTo>
                  <a:pt x="10520653" y="9906000"/>
                </a:lnTo>
                <a:lnTo>
                  <a:pt x="7399595" y="6750248"/>
                </a:lnTo>
                <a:lnTo>
                  <a:pt x="4278536" y="9906000"/>
                </a:lnTo>
                <a:lnTo>
                  <a:pt x="0" y="9906000"/>
                </a:lnTo>
                <a:lnTo>
                  <a:pt x="5167313" y="4839811"/>
                </a:lnTo>
                <a:close/>
              </a:path>
            </a:pathLst>
          </a:custGeom>
        </p:spPr>
        <p:txBody>
          <a:bodyPr wrap="square">
            <a:noAutofit/>
          </a:bodyPr>
          <a:lstStyle>
            <a:lvl1pPr marL="0" indent="0" algn="r">
              <a:buNone/>
              <a:defRPr>
                <a:solidFill>
                  <a:schemeClr val="bg1">
                    <a:lumMod val="65000"/>
                  </a:schemeClr>
                </a:solidFill>
              </a:defRPr>
            </a:lvl1pPr>
          </a:lstStyle>
          <a:p>
            <a:endParaRPr lang="id-ID" dirty="0"/>
          </a:p>
        </p:txBody>
      </p:sp>
      <p:sp>
        <p:nvSpPr>
          <p:cNvPr id="6" name="Title 2">
            <a:extLst>
              <a:ext uri="{FF2B5EF4-FFF2-40B4-BE49-F238E27FC236}">
                <a16:creationId xmlns:a16="http://schemas.microsoft.com/office/drawing/2014/main" id="{623D28C6-18C5-4225-B46C-9FC390C983BD}"/>
              </a:ext>
            </a:extLst>
          </p:cNvPr>
          <p:cNvSpPr>
            <a:spLocks noGrp="1"/>
          </p:cNvSpPr>
          <p:nvPr>
            <p:ph type="title"/>
          </p:nvPr>
        </p:nvSpPr>
        <p:spPr>
          <a:xfrm>
            <a:off x="5189908" y="2088457"/>
            <a:ext cx="6198818" cy="1149090"/>
          </a:xfrm>
          <a:prstGeom prst="rect">
            <a:avLst/>
          </a:prstGeom>
        </p:spPr>
        <p:txBody>
          <a:bodyPr anchor="ctr"/>
          <a:lstStyle>
            <a:lvl1pPr algn="l">
              <a:defRPr sz="4400" spc="0">
                <a:solidFill>
                  <a:schemeClr val="tx1">
                    <a:lumMod val="65000"/>
                    <a:lumOff val="35000"/>
                  </a:schemeClr>
                </a:solidFill>
                <a:latin typeface="Aller" panose="020B0503030302020204" pitchFamily="34" charset="0"/>
              </a:defRPr>
            </a:lvl1pPr>
          </a:lstStyle>
          <a:p>
            <a:r>
              <a:rPr lang="en-US" dirty="0"/>
              <a:t>Click to edit Master title style</a:t>
            </a:r>
            <a:endParaRPr lang="id-ID" dirty="0"/>
          </a:p>
        </p:txBody>
      </p:sp>
      <p:grpSp>
        <p:nvGrpSpPr>
          <p:cNvPr id="7" name="Group 6">
            <a:extLst>
              <a:ext uri="{FF2B5EF4-FFF2-40B4-BE49-F238E27FC236}">
                <a16:creationId xmlns:a16="http://schemas.microsoft.com/office/drawing/2014/main" id="{B9F9F9A0-28CE-4749-8670-621D6BEC12A7}"/>
              </a:ext>
            </a:extLst>
          </p:cNvPr>
          <p:cNvGrpSpPr/>
          <p:nvPr userDrawn="1"/>
        </p:nvGrpSpPr>
        <p:grpSpPr>
          <a:xfrm>
            <a:off x="5273814" y="3574732"/>
            <a:ext cx="934314" cy="45719"/>
            <a:chOff x="887636" y="1148715"/>
            <a:chExt cx="934314" cy="45719"/>
          </a:xfrm>
        </p:grpSpPr>
        <p:sp>
          <p:nvSpPr>
            <p:cNvPr id="8" name="Freeform: Shape 7">
              <a:extLst>
                <a:ext uri="{FF2B5EF4-FFF2-40B4-BE49-F238E27FC236}">
                  <a16:creationId xmlns:a16="http://schemas.microsoft.com/office/drawing/2014/main" id="{C4B0206B-DFD4-4E7A-B584-646867C025C4}"/>
                </a:ext>
              </a:extLst>
            </p:cNvPr>
            <p:cNvSpPr/>
            <p:nvPr userDrawn="1"/>
          </p:nvSpPr>
          <p:spPr>
            <a:xfrm>
              <a:off x="1132170"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solidFill>
                  <a:schemeClr val="tx1">
                    <a:lumMod val="65000"/>
                    <a:lumOff val="35000"/>
                  </a:schemeClr>
                </a:solidFill>
              </a:endParaRPr>
            </a:p>
          </p:txBody>
        </p:sp>
        <p:sp>
          <p:nvSpPr>
            <p:cNvPr id="10" name="Freeform: Shape 9">
              <a:extLst>
                <a:ext uri="{FF2B5EF4-FFF2-40B4-BE49-F238E27FC236}">
                  <a16:creationId xmlns:a16="http://schemas.microsoft.com/office/drawing/2014/main" id="{C029DC5C-1B95-4EB9-8978-4EAE791A907F}"/>
                </a:ext>
              </a:extLst>
            </p:cNvPr>
            <p:cNvSpPr/>
            <p:nvPr userDrawn="1"/>
          </p:nvSpPr>
          <p:spPr>
            <a:xfrm>
              <a:off x="1386030" y="1148715"/>
              <a:ext cx="435920" cy="45718"/>
            </a:xfrm>
            <a:custGeom>
              <a:avLst/>
              <a:gdLst>
                <a:gd name="connsiteX0" fmla="*/ 172241 w 1806556"/>
                <a:gd name="connsiteY0" fmla="*/ 0 h 172241"/>
                <a:gd name="connsiteX1" fmla="*/ 945354 w 1806556"/>
                <a:gd name="connsiteY1" fmla="*/ 0 h 172241"/>
                <a:gd name="connsiteX2" fmla="*/ 1033443 w 1806556"/>
                <a:gd name="connsiteY2" fmla="*/ 0 h 172241"/>
                <a:gd name="connsiteX3" fmla="*/ 1806556 w 1806556"/>
                <a:gd name="connsiteY3" fmla="*/ 0 h 172241"/>
                <a:gd name="connsiteX4" fmla="*/ 1634315 w 1806556"/>
                <a:gd name="connsiteY4" fmla="*/ 172241 h 172241"/>
                <a:gd name="connsiteX5" fmla="*/ 861202 w 1806556"/>
                <a:gd name="connsiteY5" fmla="*/ 172241 h 172241"/>
                <a:gd name="connsiteX6" fmla="*/ 773113 w 1806556"/>
                <a:gd name="connsiteY6" fmla="*/ 172241 h 172241"/>
                <a:gd name="connsiteX7" fmla="*/ 0 w 1806556"/>
                <a:gd name="connsiteY7" fmla="*/ 172241 h 1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6556" h="172241">
                  <a:moveTo>
                    <a:pt x="172241" y="0"/>
                  </a:moveTo>
                  <a:lnTo>
                    <a:pt x="945354" y="0"/>
                  </a:lnTo>
                  <a:lnTo>
                    <a:pt x="1033443" y="0"/>
                  </a:lnTo>
                  <a:lnTo>
                    <a:pt x="1806556" y="0"/>
                  </a:lnTo>
                  <a:lnTo>
                    <a:pt x="1634315" y="172241"/>
                  </a:lnTo>
                  <a:lnTo>
                    <a:pt x="861202" y="172241"/>
                  </a:lnTo>
                  <a:lnTo>
                    <a:pt x="773113" y="172241"/>
                  </a:lnTo>
                  <a:lnTo>
                    <a:pt x="0" y="17224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solidFill>
                  <a:schemeClr val="tx1">
                    <a:lumMod val="65000"/>
                    <a:lumOff val="35000"/>
                  </a:schemeClr>
                </a:solidFill>
              </a:endParaRPr>
            </a:p>
          </p:txBody>
        </p:sp>
        <p:sp>
          <p:nvSpPr>
            <p:cNvPr id="11" name="Freeform: Shape 10">
              <a:extLst>
                <a:ext uri="{FF2B5EF4-FFF2-40B4-BE49-F238E27FC236}">
                  <a16:creationId xmlns:a16="http://schemas.microsoft.com/office/drawing/2014/main" id="{D51125DB-F756-4619-B29B-D38B065FB8B1}"/>
                </a:ext>
              </a:extLst>
            </p:cNvPr>
            <p:cNvSpPr/>
            <p:nvPr userDrawn="1"/>
          </p:nvSpPr>
          <p:spPr>
            <a:xfrm>
              <a:off x="887636" y="1148716"/>
              <a:ext cx="249369" cy="45718"/>
            </a:xfrm>
            <a:custGeom>
              <a:avLst/>
              <a:gdLst>
                <a:gd name="connsiteX0" fmla="*/ 95250 w 571499"/>
                <a:gd name="connsiteY0" fmla="*/ 0 h 95250"/>
                <a:gd name="connsiteX1" fmla="*/ 571499 w 571499"/>
                <a:gd name="connsiteY1" fmla="*/ 0 h 95250"/>
                <a:gd name="connsiteX2" fmla="*/ 476249 w 571499"/>
                <a:gd name="connsiteY2" fmla="*/ 95250 h 95250"/>
                <a:gd name="connsiteX3" fmla="*/ 0 w 571499"/>
                <a:gd name="connsiteY3" fmla="*/ 95250 h 95250"/>
                <a:gd name="connsiteX4" fmla="*/ 95250 w 571499"/>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99" h="95250">
                  <a:moveTo>
                    <a:pt x="95250" y="0"/>
                  </a:moveTo>
                  <a:lnTo>
                    <a:pt x="571499" y="0"/>
                  </a:lnTo>
                  <a:lnTo>
                    <a:pt x="476249" y="95250"/>
                  </a:lnTo>
                  <a:lnTo>
                    <a:pt x="0" y="95250"/>
                  </a:lnTo>
                  <a:lnTo>
                    <a:pt x="952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solidFill>
                  <a:schemeClr val="tx1">
                    <a:lumMod val="65000"/>
                    <a:lumOff val="35000"/>
                  </a:schemeClr>
                </a:solidFill>
              </a:endParaRPr>
            </a:p>
          </p:txBody>
        </p:sp>
      </p:grpSp>
      <p:sp>
        <p:nvSpPr>
          <p:cNvPr id="12" name="Content Placeholder 11">
            <a:extLst>
              <a:ext uri="{FF2B5EF4-FFF2-40B4-BE49-F238E27FC236}">
                <a16:creationId xmlns:a16="http://schemas.microsoft.com/office/drawing/2014/main" id="{E22C6D56-E6D6-4EBE-AE7D-D673F5C50C51}"/>
              </a:ext>
            </a:extLst>
          </p:cNvPr>
          <p:cNvSpPr>
            <a:spLocks noGrp="1"/>
          </p:cNvSpPr>
          <p:nvPr>
            <p:ph sz="quarter" idx="10"/>
          </p:nvPr>
        </p:nvSpPr>
        <p:spPr>
          <a:xfrm>
            <a:off x="5189907" y="3265490"/>
            <a:ext cx="6198819" cy="268285"/>
          </a:xfrm>
          <a:prstGeom prst="rect">
            <a:avLst/>
          </a:prstGeom>
        </p:spPr>
        <p:txBody>
          <a:bodyPr anchor="t"/>
          <a:lstStyle>
            <a:lvl1pPr marL="0" indent="0">
              <a:buNone/>
              <a:defRPr lang="en-US" sz="1200" spc="300" dirty="0" smtClean="0">
                <a:solidFill>
                  <a:schemeClr val="tx1">
                    <a:lumMod val="65000"/>
                    <a:lumOff val="35000"/>
                  </a:schemeClr>
                </a:solidFill>
                <a:latin typeface="Segoe UI" panose="020B0502040204020203" pitchFamily="34" charset="0"/>
                <a:ea typeface="+mj-ea"/>
                <a:cs typeface="Segoe UI" panose="020B0502040204020203" pitchFamily="34" charset="0"/>
              </a:defRPr>
            </a:lvl1pPr>
            <a:lvl2pPr>
              <a:defRPr lang="en-US" sz="1800" dirty="0" smtClean="0"/>
            </a:lvl2pPr>
            <a:lvl3pPr>
              <a:defRPr lang="en-US" sz="1800" dirty="0" smtClean="0"/>
            </a:lvl3pPr>
            <a:lvl4pPr>
              <a:defRPr lang="en-US" dirty="0" smtClean="0"/>
            </a:lvl4pPr>
            <a:lvl5pPr>
              <a:defRPr lang="id-ID" dirty="0"/>
            </a:lvl5pPr>
          </a:lstStyle>
          <a:p>
            <a:pPr marL="57150" lvl="0" indent="-285750">
              <a:spcBef>
                <a:spcPct val="0"/>
              </a:spcBef>
            </a:pPr>
            <a:r>
              <a:rPr lang="en-US" dirty="0"/>
              <a:t>Edit Master text styles</a:t>
            </a:r>
          </a:p>
        </p:txBody>
      </p:sp>
    </p:spTree>
    <p:extLst>
      <p:ext uri="{BB962C8B-B14F-4D97-AF65-F5344CB8AC3E}">
        <p14:creationId xmlns:p14="http://schemas.microsoft.com/office/powerpoint/2010/main" val="1388398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00" fill="hold"/>
                                        <p:tgtEl>
                                          <p:spTgt spid="12"/>
                                        </p:tgtEl>
                                        <p:attrNameLst>
                                          <p:attrName>ppt_x</p:attrName>
                                        </p:attrNameLst>
                                      </p:cBhvr>
                                      <p:tavLst>
                                        <p:tav tm="0">
                                          <p:val>
                                            <p:strVal val="1+#ppt_w/2"/>
                                          </p:val>
                                        </p:tav>
                                        <p:tav tm="100000">
                                          <p:val>
                                            <p:strVal val="#ppt_x"/>
                                          </p:val>
                                        </p:tav>
                                      </p:tavLst>
                                    </p:anim>
                                    <p:anim calcmode="lin" valueType="num">
                                      <p:cBhvr additive="base">
                                        <p:cTn id="12" dur="1200" fill="hold"/>
                                        <p:tgtEl>
                                          <p:spTgt spid="12"/>
                                        </p:tgtEl>
                                        <p:attrNameLst>
                                          <p:attrName>ppt_y</p:attrName>
                                        </p:attrNameLst>
                                      </p:cBhvr>
                                      <p:tavLst>
                                        <p:tav tm="0">
                                          <p:val>
                                            <p:strVal val="#ppt_y"/>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tmplLst>
          <p:tmpl>
            <p:tnLst>
              <p:par>
                <p:cTn presetID="2" presetClass="entr" presetSubtype="2"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200" fill="hold"/>
                        <p:tgtEl>
                          <p:spTgt spid="12"/>
                        </p:tgtEl>
                        <p:attrNameLst>
                          <p:attrName>ppt_x</p:attrName>
                        </p:attrNameLst>
                      </p:cBhvr>
                      <p:tavLst>
                        <p:tav tm="0">
                          <p:val>
                            <p:strVal val="1+#ppt_w/2"/>
                          </p:val>
                        </p:tav>
                        <p:tav tm="100000">
                          <p:val>
                            <p:strVal val="#ppt_x"/>
                          </p:val>
                        </p:tav>
                      </p:tavLst>
                    </p:anim>
                    <p:anim calcmode="lin" valueType="num">
                      <p:cBhvr additive="base">
                        <p:cTn dur="12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9" name="Picture Placeholder 8"/>
          <p:cNvSpPr>
            <a:spLocks noGrp="1"/>
          </p:cNvSpPr>
          <p:nvPr>
            <p:ph type="pic" sz="quarter" idx="12"/>
          </p:nvPr>
        </p:nvSpPr>
        <p:spPr>
          <a:xfrm>
            <a:off x="-8090702" y="-6784257"/>
            <a:ext cx="14923135" cy="9906000"/>
          </a:xfrm>
          <a:custGeom>
            <a:avLst/>
            <a:gdLst>
              <a:gd name="connsiteX0" fmla="*/ 330699 w 14923135"/>
              <a:gd name="connsiteY0" fmla="*/ 0 h 9906000"/>
              <a:gd name="connsiteX1" fmla="*/ 4609246 w 14923135"/>
              <a:gd name="connsiteY1" fmla="*/ 0 h 9906000"/>
              <a:gd name="connsiteX2" fmla="*/ 7399595 w 14923135"/>
              <a:gd name="connsiteY2" fmla="*/ 2886919 h 9906000"/>
              <a:gd name="connsiteX3" fmla="*/ 10189943 w 14923135"/>
              <a:gd name="connsiteY3" fmla="*/ 0 h 9906000"/>
              <a:gd name="connsiteX4" fmla="*/ 14509823 w 14923135"/>
              <a:gd name="connsiteY4" fmla="*/ 0 h 9906000"/>
              <a:gd name="connsiteX5" fmla="*/ 9735228 w 14923135"/>
              <a:gd name="connsiteY5" fmla="*/ 4726602 h 9906000"/>
              <a:gd name="connsiteX6" fmla="*/ 14923135 w 14923135"/>
              <a:gd name="connsiteY6" fmla="*/ 9906000 h 9906000"/>
              <a:gd name="connsiteX7" fmla="*/ 10520653 w 14923135"/>
              <a:gd name="connsiteY7" fmla="*/ 9906000 h 9906000"/>
              <a:gd name="connsiteX8" fmla="*/ 7399595 w 14923135"/>
              <a:gd name="connsiteY8" fmla="*/ 6750248 h 9906000"/>
              <a:gd name="connsiteX9" fmla="*/ 4278536 w 14923135"/>
              <a:gd name="connsiteY9" fmla="*/ 9906000 h 9906000"/>
              <a:gd name="connsiteX10" fmla="*/ 0 w 14923135"/>
              <a:gd name="connsiteY10" fmla="*/ 9906000 h 9906000"/>
              <a:gd name="connsiteX11" fmla="*/ 5167313 w 14923135"/>
              <a:gd name="connsiteY11" fmla="*/ 4839811 h 990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923135" h="9906000">
                <a:moveTo>
                  <a:pt x="330699" y="0"/>
                </a:moveTo>
                <a:lnTo>
                  <a:pt x="4609246" y="0"/>
                </a:lnTo>
                <a:lnTo>
                  <a:pt x="7399595" y="2886919"/>
                </a:lnTo>
                <a:lnTo>
                  <a:pt x="10189943" y="0"/>
                </a:lnTo>
                <a:lnTo>
                  <a:pt x="14509823" y="0"/>
                </a:lnTo>
                <a:lnTo>
                  <a:pt x="9735228" y="4726602"/>
                </a:lnTo>
                <a:lnTo>
                  <a:pt x="14923135" y="9906000"/>
                </a:lnTo>
                <a:lnTo>
                  <a:pt x="10520653" y="9906000"/>
                </a:lnTo>
                <a:lnTo>
                  <a:pt x="7399595" y="6750248"/>
                </a:lnTo>
                <a:lnTo>
                  <a:pt x="4278536" y="9906000"/>
                </a:lnTo>
                <a:lnTo>
                  <a:pt x="0" y="9906000"/>
                </a:lnTo>
                <a:lnTo>
                  <a:pt x="5167313" y="4839811"/>
                </a:lnTo>
                <a:close/>
              </a:path>
            </a:pathLst>
          </a:custGeom>
        </p:spPr>
        <p:txBody>
          <a:bodyPr wrap="square" anchor="b">
            <a:noAutofit/>
          </a:bodyPr>
          <a:lstStyle>
            <a:lvl1pPr marL="0" indent="0" algn="r">
              <a:buNone/>
              <a:defRPr>
                <a:solidFill>
                  <a:schemeClr val="bg1">
                    <a:lumMod val="65000"/>
                  </a:schemeClr>
                </a:solidFill>
              </a:defRPr>
            </a:lvl1pPr>
          </a:lstStyle>
          <a:p>
            <a:endParaRPr lang="id-ID" dirty="0"/>
          </a:p>
        </p:txBody>
      </p:sp>
    </p:spTree>
    <p:extLst>
      <p:ext uri="{BB962C8B-B14F-4D97-AF65-F5344CB8AC3E}">
        <p14:creationId xmlns:p14="http://schemas.microsoft.com/office/powerpoint/2010/main" val="2903419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56_Title and Conten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lvl1pPr marL="0" indent="0">
              <a:buNone/>
              <a:defRPr>
                <a:solidFill>
                  <a:schemeClr val="tx1">
                    <a:lumMod val="50000"/>
                    <a:lumOff val="50000"/>
                  </a:schemeClr>
                </a:solidFill>
              </a:defRPr>
            </a:lvl1pPr>
          </a:lstStyle>
          <a:p>
            <a:endParaRPr lang="id-ID"/>
          </a:p>
        </p:txBody>
      </p:sp>
    </p:spTree>
    <p:extLst>
      <p:ext uri="{BB962C8B-B14F-4D97-AF65-F5344CB8AC3E}">
        <p14:creationId xmlns:p14="http://schemas.microsoft.com/office/powerpoint/2010/main" val="3358211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0_Title Slide">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85E4D1-C700-4F21-8A5D-BCBC34140C9C}"/>
              </a:ext>
            </a:extLst>
          </p:cNvPr>
          <p:cNvSpPr txBox="1"/>
          <p:nvPr userDrawn="1"/>
        </p:nvSpPr>
        <p:spPr>
          <a:xfrm>
            <a:off x="10030393" y="5534561"/>
            <a:ext cx="1753020" cy="1323439"/>
          </a:xfrm>
          <a:prstGeom prst="rect">
            <a:avLst/>
          </a:prstGeom>
          <a:noFill/>
        </p:spPr>
        <p:txBody>
          <a:bodyPr wrap="square" rtlCol="0">
            <a:spAutoFit/>
          </a:bodyPr>
          <a:lstStyle/>
          <a:p>
            <a:pPr algn="r"/>
            <a:r>
              <a:rPr lang="id-ID" sz="8000" b="1" i="1" dirty="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rPr>
              <a:t>_</a:t>
            </a:r>
            <a:fld id="{260E2A6B-A809-4840-BF14-8648BC0BDF87}" type="slidenum">
              <a:rPr lang="id-ID" sz="8000" b="1" i="1" smtClean="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rPr>
              <a:pPr algn="r"/>
              <a:t>‹#›</a:t>
            </a:fld>
            <a:endParaRPr lang="id-ID" sz="11500" b="1" i="1" dirty="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endParaRPr>
          </a:p>
        </p:txBody>
      </p:sp>
      <p:sp>
        <p:nvSpPr>
          <p:cNvPr id="3" name="Right Triangle 2">
            <a:extLst>
              <a:ext uri="{FF2B5EF4-FFF2-40B4-BE49-F238E27FC236}">
                <a16:creationId xmlns:a16="http://schemas.microsoft.com/office/drawing/2014/main" id="{BD8837A4-3AA1-442A-A7AB-E96136489873}"/>
              </a:ext>
            </a:extLst>
          </p:cNvPr>
          <p:cNvSpPr/>
          <p:nvPr userDrawn="1"/>
        </p:nvSpPr>
        <p:spPr>
          <a:xfrm flipH="1">
            <a:off x="11258550" y="5924550"/>
            <a:ext cx="933450" cy="93345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Right Triangle 3">
            <a:extLst>
              <a:ext uri="{FF2B5EF4-FFF2-40B4-BE49-F238E27FC236}">
                <a16:creationId xmlns:a16="http://schemas.microsoft.com/office/drawing/2014/main" id="{0EEAB7BC-73FD-4442-973B-067304E5E4F4}"/>
              </a:ext>
            </a:extLst>
          </p:cNvPr>
          <p:cNvSpPr/>
          <p:nvPr userDrawn="1"/>
        </p:nvSpPr>
        <p:spPr>
          <a:xfrm flipH="1">
            <a:off x="11351342" y="6017342"/>
            <a:ext cx="840658" cy="84065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Right Triangle 4">
            <a:extLst>
              <a:ext uri="{FF2B5EF4-FFF2-40B4-BE49-F238E27FC236}">
                <a16:creationId xmlns:a16="http://schemas.microsoft.com/office/drawing/2014/main" id="{65F190EB-7CD4-4A43-8142-315CB6C9ADA0}"/>
              </a:ext>
            </a:extLst>
          </p:cNvPr>
          <p:cNvSpPr/>
          <p:nvPr userDrawn="1"/>
        </p:nvSpPr>
        <p:spPr>
          <a:xfrm rot="5400000">
            <a:off x="99316" y="101920"/>
            <a:ext cx="457200" cy="45720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TextBox 5">
            <a:extLst>
              <a:ext uri="{FF2B5EF4-FFF2-40B4-BE49-F238E27FC236}">
                <a16:creationId xmlns:a16="http://schemas.microsoft.com/office/drawing/2014/main" id="{20604399-D97C-4C81-8342-99AEB2C61440}"/>
              </a:ext>
            </a:extLst>
          </p:cNvPr>
          <p:cNvSpPr txBox="1"/>
          <p:nvPr userDrawn="1"/>
        </p:nvSpPr>
        <p:spPr>
          <a:xfrm>
            <a:off x="426217" y="5502446"/>
            <a:ext cx="2900784" cy="1070218"/>
          </a:xfrm>
          <a:custGeom>
            <a:avLst/>
            <a:gdLst/>
            <a:ahLst/>
            <a:cxnLst/>
            <a:rect l="l" t="t" r="r" b="b"/>
            <a:pathLst>
              <a:path w="2900784" h="1070218">
                <a:moveTo>
                  <a:pt x="2740764" y="929401"/>
                </a:moveTo>
                <a:lnTo>
                  <a:pt x="2900784" y="929401"/>
                </a:lnTo>
                <a:lnTo>
                  <a:pt x="2855407" y="1062903"/>
                </a:lnTo>
                <a:lnTo>
                  <a:pt x="2695387" y="1062903"/>
                </a:lnTo>
                <a:close/>
                <a:moveTo>
                  <a:pt x="2638447" y="505119"/>
                </a:moveTo>
                <a:cubicBezTo>
                  <a:pt x="2611624" y="505119"/>
                  <a:pt x="2590026" y="529198"/>
                  <a:pt x="2573653" y="577357"/>
                </a:cubicBezTo>
                <a:lnTo>
                  <a:pt x="2544449" y="663310"/>
                </a:lnTo>
                <a:lnTo>
                  <a:pt x="2620344" y="663310"/>
                </a:lnTo>
                <a:lnTo>
                  <a:pt x="2649548" y="577357"/>
                </a:lnTo>
                <a:cubicBezTo>
                  <a:pt x="2665921" y="529198"/>
                  <a:pt x="2662221" y="505119"/>
                  <a:pt x="2638447" y="505119"/>
                </a:cubicBezTo>
                <a:close/>
                <a:moveTo>
                  <a:pt x="1814834" y="393562"/>
                </a:moveTo>
                <a:lnTo>
                  <a:pt x="1974854" y="393562"/>
                </a:lnTo>
                <a:lnTo>
                  <a:pt x="1747383" y="1062903"/>
                </a:lnTo>
                <a:lnTo>
                  <a:pt x="1587363" y="1062903"/>
                </a:lnTo>
                <a:close/>
                <a:moveTo>
                  <a:pt x="2680666" y="386247"/>
                </a:moveTo>
                <a:cubicBezTo>
                  <a:pt x="2809292" y="386247"/>
                  <a:pt x="2852164" y="449341"/>
                  <a:pt x="2809282" y="575528"/>
                </a:cubicBezTo>
                <a:lnTo>
                  <a:pt x="2792809" y="623991"/>
                </a:lnTo>
                <a:cubicBezTo>
                  <a:pt x="2776235" y="672759"/>
                  <a:pt x="2762162" y="712383"/>
                  <a:pt x="2750589" y="742863"/>
                </a:cubicBezTo>
                <a:lnTo>
                  <a:pt x="2518331" y="742863"/>
                </a:lnTo>
                <a:lnTo>
                  <a:pt x="2474197" y="872708"/>
                </a:lnTo>
                <a:cubicBezTo>
                  <a:pt x="2466330" y="895873"/>
                  <a:pt x="2462605" y="914008"/>
                  <a:pt x="2463025" y="927115"/>
                </a:cubicBezTo>
                <a:cubicBezTo>
                  <a:pt x="2463444" y="940221"/>
                  <a:pt x="2471578" y="946774"/>
                  <a:pt x="2487428" y="946774"/>
                </a:cubicBezTo>
                <a:cubicBezTo>
                  <a:pt x="2499620" y="946774"/>
                  <a:pt x="2509549" y="943117"/>
                  <a:pt x="2517217" y="935802"/>
                </a:cubicBezTo>
                <a:cubicBezTo>
                  <a:pt x="2524885" y="928486"/>
                  <a:pt x="2530783" y="920104"/>
                  <a:pt x="2534912" y="910656"/>
                </a:cubicBezTo>
                <a:cubicBezTo>
                  <a:pt x="2539041" y="901207"/>
                  <a:pt x="2544211" y="887338"/>
                  <a:pt x="2550421" y="869050"/>
                </a:cubicBezTo>
                <a:lnTo>
                  <a:pt x="2572481" y="804128"/>
                </a:lnTo>
                <a:lnTo>
                  <a:pt x="2731587" y="804128"/>
                </a:lnTo>
                <a:lnTo>
                  <a:pt x="2718542" y="842533"/>
                </a:lnTo>
                <a:cubicBezTo>
                  <a:pt x="2692025" y="920562"/>
                  <a:pt x="2657411" y="978016"/>
                  <a:pt x="2614701" y="1014897"/>
                </a:cubicBezTo>
                <a:cubicBezTo>
                  <a:pt x="2571991" y="1051778"/>
                  <a:pt x="2513755" y="1070218"/>
                  <a:pt x="2439993" y="1070218"/>
                </a:cubicBezTo>
                <a:cubicBezTo>
                  <a:pt x="2371108" y="1070218"/>
                  <a:pt x="2328153" y="1051321"/>
                  <a:pt x="2311127" y="1013526"/>
                </a:cubicBezTo>
                <a:cubicBezTo>
                  <a:pt x="2294101" y="975730"/>
                  <a:pt x="2298328" y="919342"/>
                  <a:pt x="2323807" y="844362"/>
                </a:cubicBezTo>
                <a:lnTo>
                  <a:pt x="2415176" y="575528"/>
                </a:lnTo>
                <a:cubicBezTo>
                  <a:pt x="2436102" y="513958"/>
                  <a:pt x="2469733" y="467019"/>
                  <a:pt x="2516067" y="434710"/>
                </a:cubicBezTo>
                <a:cubicBezTo>
                  <a:pt x="2562401" y="402402"/>
                  <a:pt x="2617268" y="386247"/>
                  <a:pt x="2680666" y="386247"/>
                </a:cubicBezTo>
                <a:close/>
                <a:moveTo>
                  <a:pt x="2236649" y="386247"/>
                </a:moveTo>
                <a:cubicBezTo>
                  <a:pt x="2293951" y="386247"/>
                  <a:pt x="2335511" y="401182"/>
                  <a:pt x="2361329" y="431053"/>
                </a:cubicBezTo>
                <a:cubicBezTo>
                  <a:pt x="2387146" y="460923"/>
                  <a:pt x="2390939" y="502681"/>
                  <a:pt x="2372708" y="556326"/>
                </a:cubicBezTo>
                <a:lnTo>
                  <a:pt x="2337904" y="658738"/>
                </a:lnTo>
                <a:lnTo>
                  <a:pt x="2175141" y="658738"/>
                </a:lnTo>
                <a:lnTo>
                  <a:pt x="2207145" y="564555"/>
                </a:lnTo>
                <a:cubicBezTo>
                  <a:pt x="2213155" y="546877"/>
                  <a:pt x="2215327" y="533313"/>
                  <a:pt x="2213660" y="523864"/>
                </a:cubicBezTo>
                <a:cubicBezTo>
                  <a:pt x="2211993" y="514416"/>
                  <a:pt x="2204149" y="509691"/>
                  <a:pt x="2190129" y="509691"/>
                </a:cubicBezTo>
                <a:cubicBezTo>
                  <a:pt x="2163916" y="509691"/>
                  <a:pt x="2144490" y="528284"/>
                  <a:pt x="2131850" y="565470"/>
                </a:cubicBezTo>
                <a:lnTo>
                  <a:pt x="2021536" y="890082"/>
                </a:lnTo>
                <a:cubicBezTo>
                  <a:pt x="2016354" y="905322"/>
                  <a:pt x="2015152" y="918276"/>
                  <a:pt x="2017928" y="928944"/>
                </a:cubicBezTo>
                <a:cubicBezTo>
                  <a:pt x="2020705" y="939612"/>
                  <a:pt x="2028494" y="944946"/>
                  <a:pt x="2041296" y="944946"/>
                </a:cubicBezTo>
                <a:cubicBezTo>
                  <a:pt x="2054097" y="944946"/>
                  <a:pt x="2065458" y="939764"/>
                  <a:pt x="2075379" y="929401"/>
                </a:cubicBezTo>
                <a:cubicBezTo>
                  <a:pt x="2085299" y="919038"/>
                  <a:pt x="2092754" y="905626"/>
                  <a:pt x="2097746" y="889167"/>
                </a:cubicBezTo>
                <a:lnTo>
                  <a:pt x="2135050" y="776696"/>
                </a:lnTo>
                <a:lnTo>
                  <a:pt x="2297813" y="776696"/>
                </a:lnTo>
                <a:lnTo>
                  <a:pt x="2258037" y="893739"/>
                </a:lnTo>
                <a:cubicBezTo>
                  <a:pt x="2239387" y="948603"/>
                  <a:pt x="2206897" y="991732"/>
                  <a:pt x="2160568" y="1023127"/>
                </a:cubicBezTo>
                <a:cubicBezTo>
                  <a:pt x="2114238" y="1054521"/>
                  <a:pt x="2062727" y="1070218"/>
                  <a:pt x="2006034" y="1070218"/>
                </a:cubicBezTo>
                <a:cubicBezTo>
                  <a:pt x="1932882" y="1070218"/>
                  <a:pt x="1886472" y="1051626"/>
                  <a:pt x="1866802" y="1014440"/>
                </a:cubicBezTo>
                <a:cubicBezTo>
                  <a:pt x="1847133" y="977254"/>
                  <a:pt x="1850348" y="920257"/>
                  <a:pt x="1876447" y="843447"/>
                </a:cubicBezTo>
                <a:lnTo>
                  <a:pt x="1946684" y="636793"/>
                </a:lnTo>
                <a:cubicBezTo>
                  <a:pt x="1966363" y="578881"/>
                  <a:pt x="1988613" y="531789"/>
                  <a:pt x="2013435" y="495518"/>
                </a:cubicBezTo>
                <a:cubicBezTo>
                  <a:pt x="2038257" y="459247"/>
                  <a:pt x="2068559" y="431967"/>
                  <a:pt x="2104339" y="413679"/>
                </a:cubicBezTo>
                <a:cubicBezTo>
                  <a:pt x="2140120" y="395391"/>
                  <a:pt x="2184223" y="386247"/>
                  <a:pt x="2236649" y="386247"/>
                </a:cubicBezTo>
                <a:close/>
                <a:moveTo>
                  <a:pt x="1867969" y="237200"/>
                </a:moveTo>
                <a:lnTo>
                  <a:pt x="2027989" y="237200"/>
                </a:lnTo>
                <a:lnTo>
                  <a:pt x="1990085" y="348757"/>
                </a:lnTo>
                <a:lnTo>
                  <a:pt x="1830065" y="348757"/>
                </a:lnTo>
                <a:close/>
                <a:moveTo>
                  <a:pt x="622260" y="116128"/>
                </a:moveTo>
                <a:lnTo>
                  <a:pt x="783195" y="116128"/>
                </a:lnTo>
                <a:lnTo>
                  <a:pt x="624718" y="582472"/>
                </a:lnTo>
                <a:cubicBezTo>
                  <a:pt x="623261" y="586740"/>
                  <a:pt x="619374" y="598170"/>
                  <a:pt x="613059" y="616762"/>
                </a:cubicBezTo>
                <a:cubicBezTo>
                  <a:pt x="606744" y="635355"/>
                  <a:pt x="605187" y="648462"/>
                  <a:pt x="608387" y="656082"/>
                </a:cubicBezTo>
                <a:cubicBezTo>
                  <a:pt x="611588" y="663702"/>
                  <a:pt x="619284" y="667512"/>
                  <a:pt x="631476" y="667512"/>
                </a:cubicBezTo>
                <a:cubicBezTo>
                  <a:pt x="647935" y="667512"/>
                  <a:pt x="660630" y="660654"/>
                  <a:pt x="669559" y="646938"/>
                </a:cubicBezTo>
                <a:cubicBezTo>
                  <a:pt x="678489" y="633222"/>
                  <a:pt x="687302" y="613562"/>
                  <a:pt x="695998" y="587959"/>
                </a:cubicBezTo>
                <a:lnTo>
                  <a:pt x="697870" y="582472"/>
                </a:lnTo>
                <a:lnTo>
                  <a:pt x="857261" y="116128"/>
                </a:lnTo>
                <a:lnTo>
                  <a:pt x="1016367" y="116128"/>
                </a:lnTo>
                <a:lnTo>
                  <a:pt x="788896" y="785469"/>
                </a:lnTo>
                <a:lnTo>
                  <a:pt x="628876" y="785469"/>
                </a:lnTo>
                <a:lnTo>
                  <a:pt x="653122" y="714146"/>
                </a:lnTo>
                <a:cubicBezTo>
                  <a:pt x="632614" y="742188"/>
                  <a:pt x="612974" y="762304"/>
                  <a:pt x="594200" y="774496"/>
                </a:cubicBezTo>
                <a:cubicBezTo>
                  <a:pt x="575426" y="786688"/>
                  <a:pt x="551714" y="792784"/>
                  <a:pt x="523062" y="792784"/>
                </a:cubicBezTo>
                <a:cubicBezTo>
                  <a:pt x="473075" y="792784"/>
                  <a:pt x="443862" y="777849"/>
                  <a:pt x="435423" y="747979"/>
                </a:cubicBezTo>
                <a:cubicBezTo>
                  <a:pt x="426984" y="718108"/>
                  <a:pt x="432808" y="673608"/>
                  <a:pt x="452896" y="614476"/>
                </a:cubicBezTo>
                <a:close/>
                <a:moveTo>
                  <a:pt x="1270313" y="108813"/>
                </a:moveTo>
                <a:cubicBezTo>
                  <a:pt x="1400158" y="108813"/>
                  <a:pt x="1443120" y="173431"/>
                  <a:pt x="1399201" y="302666"/>
                </a:cubicBezTo>
                <a:lnTo>
                  <a:pt x="1394857" y="315468"/>
                </a:lnTo>
                <a:lnTo>
                  <a:pt x="1229351" y="315468"/>
                </a:lnTo>
                <a:lnTo>
                  <a:pt x="1238052" y="289864"/>
                </a:lnTo>
                <a:cubicBezTo>
                  <a:pt x="1243433" y="274015"/>
                  <a:pt x="1245450" y="260451"/>
                  <a:pt x="1244103" y="249174"/>
                </a:cubicBezTo>
                <a:cubicBezTo>
                  <a:pt x="1242755" y="237896"/>
                  <a:pt x="1235985" y="232257"/>
                  <a:pt x="1223793" y="232257"/>
                </a:cubicBezTo>
                <a:cubicBezTo>
                  <a:pt x="1212820" y="232257"/>
                  <a:pt x="1203350" y="235458"/>
                  <a:pt x="1195382" y="241858"/>
                </a:cubicBezTo>
                <a:cubicBezTo>
                  <a:pt x="1187415" y="248259"/>
                  <a:pt x="1181569" y="256946"/>
                  <a:pt x="1177844" y="267919"/>
                </a:cubicBezTo>
                <a:cubicBezTo>
                  <a:pt x="1169558" y="292303"/>
                  <a:pt x="1172582" y="311200"/>
                  <a:pt x="1186917" y="324612"/>
                </a:cubicBezTo>
                <a:lnTo>
                  <a:pt x="1261126" y="396849"/>
                </a:lnTo>
                <a:cubicBezTo>
                  <a:pt x="1287577" y="423062"/>
                  <a:pt x="1305020" y="451561"/>
                  <a:pt x="1313454" y="482346"/>
                </a:cubicBezTo>
                <a:cubicBezTo>
                  <a:pt x="1321888" y="513130"/>
                  <a:pt x="1318129" y="551992"/>
                  <a:pt x="1302174" y="598932"/>
                </a:cubicBezTo>
                <a:cubicBezTo>
                  <a:pt x="1281048" y="661111"/>
                  <a:pt x="1247108" y="708964"/>
                  <a:pt x="1200354" y="742492"/>
                </a:cubicBezTo>
                <a:cubicBezTo>
                  <a:pt x="1153601" y="776020"/>
                  <a:pt x="1098525" y="792784"/>
                  <a:pt x="1035126" y="792784"/>
                </a:cubicBezTo>
                <a:cubicBezTo>
                  <a:pt x="902843" y="792784"/>
                  <a:pt x="859490" y="725728"/>
                  <a:pt x="905067" y="591616"/>
                </a:cubicBezTo>
                <a:lnTo>
                  <a:pt x="924013" y="538581"/>
                </a:lnTo>
                <a:lnTo>
                  <a:pt x="1084033" y="538581"/>
                </a:lnTo>
                <a:lnTo>
                  <a:pt x="1058215" y="617220"/>
                </a:lnTo>
                <a:cubicBezTo>
                  <a:pt x="1052833" y="633069"/>
                  <a:pt x="1051790" y="645109"/>
                  <a:pt x="1055086" y="653338"/>
                </a:cubicBezTo>
                <a:cubicBezTo>
                  <a:pt x="1058382" y="661568"/>
                  <a:pt x="1067040" y="665683"/>
                  <a:pt x="1081061" y="665683"/>
                </a:cubicBezTo>
                <a:cubicBezTo>
                  <a:pt x="1102397" y="665683"/>
                  <a:pt x="1118970" y="648309"/>
                  <a:pt x="1130781" y="613562"/>
                </a:cubicBezTo>
                <a:cubicBezTo>
                  <a:pt x="1139487" y="587959"/>
                  <a:pt x="1141297" y="567842"/>
                  <a:pt x="1136210" y="553212"/>
                </a:cubicBezTo>
                <a:cubicBezTo>
                  <a:pt x="1131124" y="538581"/>
                  <a:pt x="1120404" y="523036"/>
                  <a:pt x="1104049" y="506577"/>
                </a:cubicBezTo>
                <a:lnTo>
                  <a:pt x="1041384" y="440740"/>
                </a:lnTo>
                <a:cubicBezTo>
                  <a:pt x="1019791" y="418185"/>
                  <a:pt x="1006685" y="394868"/>
                  <a:pt x="1002065" y="370789"/>
                </a:cubicBezTo>
                <a:cubicBezTo>
                  <a:pt x="997445" y="346710"/>
                  <a:pt x="1002594" y="312724"/>
                  <a:pt x="1017510" y="268833"/>
                </a:cubicBezTo>
                <a:cubicBezTo>
                  <a:pt x="1029111" y="234696"/>
                  <a:pt x="1047995" y="205587"/>
                  <a:pt x="1074160" y="181508"/>
                </a:cubicBezTo>
                <a:cubicBezTo>
                  <a:pt x="1100325" y="157429"/>
                  <a:pt x="1130415" y="139293"/>
                  <a:pt x="1164428" y="127101"/>
                </a:cubicBezTo>
                <a:cubicBezTo>
                  <a:pt x="1198442" y="114909"/>
                  <a:pt x="1233737" y="108813"/>
                  <a:pt x="1270313" y="108813"/>
                </a:cubicBezTo>
                <a:close/>
                <a:moveTo>
                  <a:pt x="1586333" y="0"/>
                </a:moveTo>
                <a:lnTo>
                  <a:pt x="1741782" y="0"/>
                </a:lnTo>
                <a:lnTo>
                  <a:pt x="1693618" y="141732"/>
                </a:lnTo>
                <a:lnTo>
                  <a:pt x="1739338" y="141732"/>
                </a:lnTo>
                <a:lnTo>
                  <a:pt x="1698005" y="263347"/>
                </a:lnTo>
                <a:lnTo>
                  <a:pt x="1652285" y="263347"/>
                </a:lnTo>
                <a:lnTo>
                  <a:pt x="1524569" y="639165"/>
                </a:lnTo>
                <a:cubicBezTo>
                  <a:pt x="1520635" y="650748"/>
                  <a:pt x="1518649" y="659282"/>
                  <a:pt x="1518611" y="664768"/>
                </a:cubicBezTo>
                <a:cubicBezTo>
                  <a:pt x="1518573" y="670255"/>
                  <a:pt x="1522516" y="672998"/>
                  <a:pt x="1530441" y="672998"/>
                </a:cubicBezTo>
                <a:cubicBezTo>
                  <a:pt x="1536537" y="672998"/>
                  <a:pt x="1542433" y="672693"/>
                  <a:pt x="1548129" y="672084"/>
                </a:cubicBezTo>
                <a:cubicBezTo>
                  <a:pt x="1553825" y="671474"/>
                  <a:pt x="1557587" y="671169"/>
                  <a:pt x="1559416" y="671169"/>
                </a:cubicBezTo>
                <a:lnTo>
                  <a:pt x="1522125" y="780897"/>
                </a:lnTo>
                <a:cubicBezTo>
                  <a:pt x="1512153" y="783336"/>
                  <a:pt x="1498013" y="785926"/>
                  <a:pt x="1479706" y="788670"/>
                </a:cubicBezTo>
                <a:cubicBezTo>
                  <a:pt x="1461399" y="791413"/>
                  <a:pt x="1444016" y="792784"/>
                  <a:pt x="1427557" y="792784"/>
                </a:cubicBezTo>
                <a:cubicBezTo>
                  <a:pt x="1385494" y="792784"/>
                  <a:pt x="1359543" y="783945"/>
                  <a:pt x="1349704" y="766267"/>
                </a:cubicBezTo>
                <a:cubicBezTo>
                  <a:pt x="1339865" y="748588"/>
                  <a:pt x="1341574" y="720242"/>
                  <a:pt x="1354833" y="681228"/>
                </a:cubicBezTo>
                <a:lnTo>
                  <a:pt x="1496837" y="263347"/>
                </a:lnTo>
                <a:lnTo>
                  <a:pt x="1452031" y="263347"/>
                </a:lnTo>
                <a:lnTo>
                  <a:pt x="1493365" y="141732"/>
                </a:lnTo>
                <a:lnTo>
                  <a:pt x="1538170" y="141732"/>
                </a:lnTo>
                <a:close/>
                <a:moveTo>
                  <a:pt x="445238" y="0"/>
                </a:moveTo>
                <a:lnTo>
                  <a:pt x="603430" y="0"/>
                </a:lnTo>
                <a:lnTo>
                  <a:pt x="403305" y="588873"/>
                </a:lnTo>
                <a:cubicBezTo>
                  <a:pt x="389427" y="629716"/>
                  <a:pt x="369179" y="665530"/>
                  <a:pt x="342561" y="696315"/>
                </a:cubicBezTo>
                <a:cubicBezTo>
                  <a:pt x="315944" y="727100"/>
                  <a:pt x="285309" y="750874"/>
                  <a:pt x="250657" y="767638"/>
                </a:cubicBezTo>
                <a:cubicBezTo>
                  <a:pt x="216005" y="784402"/>
                  <a:pt x="180086" y="792784"/>
                  <a:pt x="142901" y="792784"/>
                </a:cubicBezTo>
                <a:cubicBezTo>
                  <a:pt x="106934" y="792784"/>
                  <a:pt x="76704" y="785774"/>
                  <a:pt x="52211" y="771753"/>
                </a:cubicBezTo>
                <a:cubicBezTo>
                  <a:pt x="27717" y="757732"/>
                  <a:pt x="11696" y="737158"/>
                  <a:pt x="4148" y="710031"/>
                </a:cubicBezTo>
                <a:cubicBezTo>
                  <a:pt x="-3401" y="682904"/>
                  <a:pt x="-646" y="650138"/>
                  <a:pt x="12413" y="611733"/>
                </a:cubicBezTo>
                <a:lnTo>
                  <a:pt x="79221" y="415137"/>
                </a:lnTo>
                <a:lnTo>
                  <a:pt x="233755" y="415137"/>
                </a:lnTo>
                <a:lnTo>
                  <a:pt x="170047" y="602589"/>
                </a:lnTo>
                <a:cubicBezTo>
                  <a:pt x="165284" y="616610"/>
                  <a:pt x="164401" y="627735"/>
                  <a:pt x="167397" y="635965"/>
                </a:cubicBezTo>
                <a:cubicBezTo>
                  <a:pt x="170392" y="644194"/>
                  <a:pt x="177986" y="648309"/>
                  <a:pt x="190178" y="648309"/>
                </a:cubicBezTo>
                <a:cubicBezTo>
                  <a:pt x="201760" y="648309"/>
                  <a:pt x="211740" y="644499"/>
                  <a:pt x="220117" y="636879"/>
                </a:cubicBezTo>
                <a:cubicBezTo>
                  <a:pt x="228495" y="629259"/>
                  <a:pt x="235069" y="618439"/>
                  <a:pt x="239841" y="604418"/>
                </a:cubicBezTo>
                <a:close/>
              </a:path>
            </a:pathLst>
          </a:custGeom>
          <a:solidFill>
            <a:schemeClr val="tx1">
              <a:lumMod val="75000"/>
              <a:lumOff val="25000"/>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id-ID" sz="7200" i="1" dirty="0">
              <a:solidFill>
                <a:schemeClr val="bg1">
                  <a:lumMod val="95000"/>
                  <a:alpha val="50000"/>
                </a:schemeClr>
              </a:solidFill>
              <a:latin typeface="Anton" panose="00000500000000000000" pitchFamily="2" charset="0"/>
            </a:endParaRPr>
          </a:p>
        </p:txBody>
      </p:sp>
      <p:grpSp>
        <p:nvGrpSpPr>
          <p:cNvPr id="7" name="Group 6">
            <a:extLst>
              <a:ext uri="{FF2B5EF4-FFF2-40B4-BE49-F238E27FC236}">
                <a16:creationId xmlns:a16="http://schemas.microsoft.com/office/drawing/2014/main" id="{A5278F67-31A4-4CAE-8F27-ED8CBD49ECF5}"/>
              </a:ext>
            </a:extLst>
          </p:cNvPr>
          <p:cNvGrpSpPr/>
          <p:nvPr userDrawn="1"/>
        </p:nvGrpSpPr>
        <p:grpSpPr>
          <a:xfrm>
            <a:off x="408587" y="6394749"/>
            <a:ext cx="2268454" cy="261610"/>
            <a:chOff x="242614" y="6328854"/>
            <a:chExt cx="2268454" cy="261610"/>
          </a:xfrm>
        </p:grpSpPr>
        <p:sp>
          <p:nvSpPr>
            <p:cNvPr id="8" name="Freeform 62">
              <a:extLst>
                <a:ext uri="{FF2B5EF4-FFF2-40B4-BE49-F238E27FC236}">
                  <a16:creationId xmlns:a16="http://schemas.microsoft.com/office/drawing/2014/main" id="{AA3BEF6B-99F8-407E-9C6D-347B883330DE}"/>
                </a:ext>
              </a:extLst>
            </p:cNvPr>
            <p:cNvSpPr>
              <a:spLocks noEditPoints="1"/>
            </p:cNvSpPr>
            <p:nvPr/>
          </p:nvSpPr>
          <p:spPr bwMode="auto">
            <a:xfrm>
              <a:off x="242614" y="6399940"/>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b="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E2BA9869-D7D3-44A4-8EE6-B644A03454F8}"/>
                </a:ext>
              </a:extLst>
            </p:cNvPr>
            <p:cNvSpPr txBox="1"/>
            <p:nvPr/>
          </p:nvSpPr>
          <p:spPr>
            <a:xfrm>
              <a:off x="316236" y="6328854"/>
              <a:ext cx="2194832" cy="261610"/>
            </a:xfrm>
            <a:prstGeom prst="rect">
              <a:avLst/>
            </a:prstGeom>
            <a:noFill/>
          </p:spPr>
          <p:txBody>
            <a:bodyPr wrap="none" rtlCol="0">
              <a:spAutoFit/>
            </a:bodyPr>
            <a:lstStyle/>
            <a:p>
              <a:r>
                <a:rPr lang="en-US" sz="1100" b="0" dirty="0">
                  <a:solidFill>
                    <a:schemeClr val="tx1">
                      <a:lumMod val="75000"/>
                      <a:lumOff val="25000"/>
                    </a:schemeClr>
                  </a:solidFill>
                  <a:latin typeface="Segoe UI" panose="020B0502040204020203" pitchFamily="34" charset="0"/>
                  <a:cs typeface="Segoe UI" panose="020B0502040204020203" pitchFamily="34" charset="0"/>
                </a:rPr>
                <a:t>201</a:t>
              </a:r>
              <a:r>
                <a:rPr lang="id-ID" sz="1100" dirty="0">
                  <a:solidFill>
                    <a:schemeClr val="tx1">
                      <a:lumMod val="75000"/>
                      <a:lumOff val="25000"/>
                    </a:schemeClr>
                  </a:solidFill>
                  <a:latin typeface="Segoe UI" panose="020B0502040204020203" pitchFamily="34" charset="0"/>
                  <a:cs typeface="Segoe UI" panose="020B0502040204020203" pitchFamily="34" charset="0"/>
                </a:rPr>
                <a:t>8</a:t>
              </a:r>
              <a:r>
                <a:rPr lang="id-ID" sz="1100" b="0" dirty="0">
                  <a:solidFill>
                    <a:schemeClr val="tx1">
                      <a:lumMod val="75000"/>
                      <a:lumOff val="25000"/>
                    </a:schemeClr>
                  </a:solidFill>
                  <a:latin typeface="Segoe UI" panose="020B0502040204020203" pitchFamily="34" charset="0"/>
                  <a:cs typeface="Segoe UI" panose="020B0502040204020203" pitchFamily="34" charset="0"/>
                </a:rPr>
                <a:t> Justice</a:t>
              </a:r>
              <a:r>
                <a:rPr lang="en-US" sz="1100" b="0" dirty="0">
                  <a:solidFill>
                    <a:schemeClr val="tx1">
                      <a:lumMod val="75000"/>
                      <a:lumOff val="25000"/>
                    </a:schemeClr>
                  </a:solidFill>
                  <a:latin typeface="Segoe UI" panose="020B0502040204020203" pitchFamily="34" charset="0"/>
                  <a:cs typeface="Segoe UI" panose="020B0502040204020203" pitchFamily="34" charset="0"/>
                </a:rPr>
                <a:t>.</a:t>
              </a:r>
              <a:r>
                <a:rPr lang="id-ID" sz="1100" b="0" dirty="0">
                  <a:solidFill>
                    <a:schemeClr val="tx1">
                      <a:lumMod val="75000"/>
                      <a:lumOff val="25000"/>
                    </a:schemeClr>
                  </a:solidFill>
                  <a:latin typeface="Segoe UI" panose="020B0502040204020203" pitchFamily="34" charset="0"/>
                  <a:cs typeface="Segoe UI" panose="020B0502040204020203" pitchFamily="34" charset="0"/>
                </a:rPr>
                <a:t> </a:t>
              </a:r>
              <a:r>
                <a:rPr lang="en-US" sz="1100" b="0" dirty="0">
                  <a:solidFill>
                    <a:schemeClr val="tx1">
                      <a:lumMod val="75000"/>
                      <a:lumOff val="25000"/>
                    </a:schemeClr>
                  </a:solidFill>
                  <a:latin typeface="Segoe UI" panose="020B0502040204020203" pitchFamily="34" charset="0"/>
                  <a:cs typeface="Segoe UI" panose="020B0502040204020203" pitchFamily="34" charset="0"/>
                </a:rPr>
                <a:t>All Rights Reserved</a:t>
              </a:r>
              <a:endParaRPr lang="id-ID" sz="1100" b="0" dirty="0">
                <a:solidFill>
                  <a:schemeClr val="tx1">
                    <a:lumMod val="75000"/>
                    <a:lumOff val="25000"/>
                  </a:schemeClr>
                </a:solidFill>
                <a:latin typeface="Segoe UI" panose="020B0502040204020203" pitchFamily="34" charset="0"/>
                <a:cs typeface="Segoe UI" panose="020B0502040204020203" pitchFamily="34" charset="0"/>
              </a:endParaRPr>
            </a:p>
          </p:txBody>
        </p:sp>
      </p:grpSp>
      <p:sp>
        <p:nvSpPr>
          <p:cNvPr id="10" name="TextBox 9">
            <a:extLst>
              <a:ext uri="{FF2B5EF4-FFF2-40B4-BE49-F238E27FC236}">
                <a16:creationId xmlns:a16="http://schemas.microsoft.com/office/drawing/2014/main" id="{E2F0BC9B-343F-495C-894B-68701B4EF5D5}"/>
              </a:ext>
            </a:extLst>
          </p:cNvPr>
          <p:cNvSpPr txBox="1"/>
          <p:nvPr userDrawn="1"/>
        </p:nvSpPr>
        <p:spPr>
          <a:xfrm rot="16200000">
            <a:off x="-967865" y="3313584"/>
            <a:ext cx="2643554" cy="230832"/>
          </a:xfrm>
          <a:prstGeom prst="rect">
            <a:avLst/>
          </a:prstGeom>
          <a:noFill/>
        </p:spPr>
        <p:txBody>
          <a:bodyPr wrap="square" rtlCol="0">
            <a:spAutoFit/>
          </a:bodyPr>
          <a:lstStyle/>
          <a:p>
            <a:pPr algn="ctr"/>
            <a:r>
              <a:rPr lang="id-ID" sz="900" strike="noStrike" spc="600" dirty="0">
                <a:solidFill>
                  <a:schemeClr val="tx1">
                    <a:lumMod val="75000"/>
                    <a:lumOff val="25000"/>
                  </a:schemeClr>
                </a:solidFill>
                <a:latin typeface="Segoe UI" panose="020B0502040204020203" pitchFamily="34" charset="0"/>
                <a:cs typeface="Segoe UI" panose="020B0502040204020203" pitchFamily="34" charset="0"/>
              </a:rPr>
              <a:t>WWW.WEBSITE.COM</a:t>
            </a:r>
          </a:p>
        </p:txBody>
      </p:sp>
      <p:sp>
        <p:nvSpPr>
          <p:cNvPr id="11" name="Diagonal Stripe 10">
            <a:extLst>
              <a:ext uri="{FF2B5EF4-FFF2-40B4-BE49-F238E27FC236}">
                <a16:creationId xmlns:a16="http://schemas.microsoft.com/office/drawing/2014/main" id="{54C8C06D-5825-440E-AEE7-CEE630FE3695}"/>
              </a:ext>
            </a:extLst>
          </p:cNvPr>
          <p:cNvSpPr/>
          <p:nvPr userDrawn="1"/>
        </p:nvSpPr>
        <p:spPr>
          <a:xfrm>
            <a:off x="7759125" y="0"/>
            <a:ext cx="3982065" cy="3982065"/>
          </a:xfrm>
          <a:prstGeom prst="diagStripe">
            <a:avLst/>
          </a:prstGeom>
          <a:gradFill flip="none" rotWithShape="1">
            <a:gsLst>
              <a:gs pos="6000">
                <a:schemeClr val="tx1">
                  <a:lumMod val="75000"/>
                  <a:lumOff val="25000"/>
                  <a:alpha val="46000"/>
                </a:schemeClr>
              </a:gs>
              <a:gs pos="100000">
                <a:schemeClr val="tx1">
                  <a:lumMod val="85000"/>
                  <a:lumOff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12" name="Diagonal Stripe 11">
            <a:extLst>
              <a:ext uri="{FF2B5EF4-FFF2-40B4-BE49-F238E27FC236}">
                <a16:creationId xmlns:a16="http://schemas.microsoft.com/office/drawing/2014/main" id="{230498E5-3F76-46DC-BDD7-FEBA87F64D74}"/>
              </a:ext>
            </a:extLst>
          </p:cNvPr>
          <p:cNvSpPr/>
          <p:nvPr userDrawn="1"/>
        </p:nvSpPr>
        <p:spPr>
          <a:xfrm rot="5400000" flipH="1">
            <a:off x="7086946" y="1797430"/>
            <a:ext cx="3263139" cy="3263139"/>
          </a:xfrm>
          <a:prstGeom prst="diagStripe">
            <a:avLst/>
          </a:prstGeom>
          <a:solidFill>
            <a:schemeClr val="tx1">
              <a:lumMod val="75000"/>
              <a:lumOff val="2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Tree>
    <p:extLst>
      <p:ext uri="{BB962C8B-B14F-4D97-AF65-F5344CB8AC3E}">
        <p14:creationId xmlns:p14="http://schemas.microsoft.com/office/powerpoint/2010/main" val="1729832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10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57_Title and Conten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lvl1pPr marL="0" indent="0">
              <a:buNone/>
              <a:defRPr>
                <a:solidFill>
                  <a:schemeClr val="bg1">
                    <a:lumMod val="75000"/>
                  </a:schemeClr>
                </a:solidFill>
              </a:defRPr>
            </a:lvl1pPr>
          </a:lstStyle>
          <a:p>
            <a:endParaRPr lang="id-ID"/>
          </a:p>
        </p:txBody>
      </p:sp>
      <p:sp>
        <p:nvSpPr>
          <p:cNvPr id="7" name="Picture Placeholder 6">
            <a:extLst>
              <a:ext uri="{FF2B5EF4-FFF2-40B4-BE49-F238E27FC236}">
                <a16:creationId xmlns:a16="http://schemas.microsoft.com/office/drawing/2014/main" id="{0AE6CCF9-D99F-479C-AFD5-EB08DFB57C09}"/>
              </a:ext>
            </a:extLst>
          </p:cNvPr>
          <p:cNvSpPr>
            <a:spLocks noGrp="1"/>
          </p:cNvSpPr>
          <p:nvPr>
            <p:ph type="pic" sz="quarter" idx="11"/>
          </p:nvPr>
        </p:nvSpPr>
        <p:spPr>
          <a:xfrm>
            <a:off x="1" y="1601366"/>
            <a:ext cx="6654001" cy="4120838"/>
          </a:xfrm>
          <a:custGeom>
            <a:avLst/>
            <a:gdLst>
              <a:gd name="connsiteX0" fmla="*/ 0 w 6654001"/>
              <a:gd name="connsiteY0" fmla="*/ 0 h 4120838"/>
              <a:gd name="connsiteX1" fmla="*/ 1289634 w 6654001"/>
              <a:gd name="connsiteY1" fmla="*/ 0 h 4120838"/>
              <a:gd name="connsiteX2" fmla="*/ 2533163 w 6654001"/>
              <a:gd name="connsiteY2" fmla="*/ 0 h 4120838"/>
              <a:gd name="connsiteX3" fmla="*/ 6654001 w 6654001"/>
              <a:gd name="connsiteY3" fmla="*/ 4120838 h 4120838"/>
              <a:gd name="connsiteX4" fmla="*/ 1289634 w 6654001"/>
              <a:gd name="connsiteY4" fmla="*/ 4120838 h 4120838"/>
              <a:gd name="connsiteX5" fmla="*/ 0 w 6654001"/>
              <a:gd name="connsiteY5" fmla="*/ 4120838 h 412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4001" h="4120838">
                <a:moveTo>
                  <a:pt x="0" y="0"/>
                </a:moveTo>
                <a:lnTo>
                  <a:pt x="1289634" y="0"/>
                </a:lnTo>
                <a:lnTo>
                  <a:pt x="2533163" y="0"/>
                </a:lnTo>
                <a:lnTo>
                  <a:pt x="6654001" y="4120838"/>
                </a:lnTo>
                <a:lnTo>
                  <a:pt x="1289634" y="4120838"/>
                </a:lnTo>
                <a:lnTo>
                  <a:pt x="0" y="4120838"/>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1005193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nodePh="1">
                                  <p:stCondLst>
                                    <p:cond delay="0"/>
                                  </p:stCondLst>
                                  <p:endCondLst>
                                    <p:cond evt="begin" delay="0">
                                      <p:tn val="5"/>
                                    </p:cond>
                                  </p:endCondLst>
                                  <p:childTnLst>
                                    <p:animScale>
                                      <p:cBhvr>
                                        <p:cTn id="6" dur="5000" fill="hold"/>
                                        <p:tgtEl>
                                          <p:spTgt spid="8"/>
                                        </p:tgtEl>
                                      </p:cBhvr>
                                      <p:by x="150000" y="150000"/>
                                    </p:animScale>
                                  </p:childTnLst>
                                </p:cTn>
                              </p:par>
                              <p:par>
                                <p:cTn id="7" presetID="2" presetClass="entr" presetSubtype="8" decel="100000" fill="hold" grpId="0" nodeType="withEffect" nodePh="1">
                                  <p:stCondLst>
                                    <p:cond delay="0"/>
                                  </p:stCondLst>
                                  <p:endCondLst>
                                    <p:cond evt="begin" delay="0">
                                      <p:tn val="7"/>
                                    </p:cond>
                                  </p:endCondLst>
                                  <p:childTnLst>
                                    <p:set>
                                      <p:cBhvr>
                                        <p:cTn id="8" dur="1" fill="hold">
                                          <p:stCondLst>
                                            <p:cond delay="0"/>
                                          </p:stCondLst>
                                        </p:cTn>
                                        <p:tgtEl>
                                          <p:spTgt spid="7"/>
                                        </p:tgtEl>
                                        <p:attrNameLst>
                                          <p:attrName>style.visibility</p:attrName>
                                        </p:attrNameLst>
                                      </p:cBhvr>
                                      <p:to>
                                        <p:strVal val="visible"/>
                                      </p:to>
                                    </p:set>
                                    <p:anim calcmode="lin" valueType="num">
                                      <p:cBhvr additive="base">
                                        <p:cTn id="9" dur="1000" fill="hold"/>
                                        <p:tgtEl>
                                          <p:spTgt spid="7"/>
                                        </p:tgtEl>
                                        <p:attrNameLst>
                                          <p:attrName>ppt_x</p:attrName>
                                        </p:attrNameLst>
                                      </p:cBhvr>
                                      <p:tavLst>
                                        <p:tav tm="0">
                                          <p:val>
                                            <p:strVal val="0-#ppt_w/2"/>
                                          </p:val>
                                        </p:tav>
                                        <p:tav tm="100000">
                                          <p:val>
                                            <p:strVal val="#ppt_x"/>
                                          </p:val>
                                        </p:tav>
                                      </p:tavLst>
                                    </p:anim>
                                    <p:anim calcmode="lin" valueType="num">
                                      <p:cBhvr additive="base">
                                        <p:cTn id="10"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85E4D1-C700-4F21-8A5D-BCBC34140C9C}"/>
              </a:ext>
            </a:extLst>
          </p:cNvPr>
          <p:cNvSpPr txBox="1"/>
          <p:nvPr userDrawn="1"/>
        </p:nvSpPr>
        <p:spPr>
          <a:xfrm>
            <a:off x="10030393" y="5534561"/>
            <a:ext cx="1753020" cy="1323439"/>
          </a:xfrm>
          <a:prstGeom prst="rect">
            <a:avLst/>
          </a:prstGeom>
          <a:noFill/>
        </p:spPr>
        <p:txBody>
          <a:bodyPr wrap="square" rtlCol="0">
            <a:spAutoFit/>
          </a:bodyPr>
          <a:lstStyle/>
          <a:p>
            <a:pPr algn="r"/>
            <a:r>
              <a:rPr lang="id-ID" sz="8000" b="1" i="1" dirty="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rPr>
              <a:t>_</a:t>
            </a:r>
            <a:fld id="{260E2A6B-A809-4840-BF14-8648BC0BDF87}" type="slidenum">
              <a:rPr lang="id-ID" sz="8000" b="1" i="1" smtClean="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rPr>
              <a:pPr algn="r"/>
              <a:t>‹#›</a:t>
            </a:fld>
            <a:endParaRPr lang="id-ID" sz="11500" b="1" i="1" dirty="0">
              <a:solidFill>
                <a:schemeClr val="tx1">
                  <a:lumMod val="75000"/>
                  <a:lumOff val="25000"/>
                </a:schemeClr>
              </a:solidFill>
              <a:latin typeface="Anton" panose="00000500000000000000" pitchFamily="2" charset="0"/>
              <a:ea typeface="Liberation Sans" panose="020B0604020202020204" pitchFamily="34" charset="0"/>
              <a:cs typeface="Segoe UI" panose="020B0502040204020203" pitchFamily="34" charset="0"/>
            </a:endParaRPr>
          </a:p>
        </p:txBody>
      </p:sp>
      <p:sp>
        <p:nvSpPr>
          <p:cNvPr id="3" name="Right Triangle 2">
            <a:extLst>
              <a:ext uri="{FF2B5EF4-FFF2-40B4-BE49-F238E27FC236}">
                <a16:creationId xmlns:a16="http://schemas.microsoft.com/office/drawing/2014/main" id="{BD8837A4-3AA1-442A-A7AB-E96136489873}"/>
              </a:ext>
            </a:extLst>
          </p:cNvPr>
          <p:cNvSpPr/>
          <p:nvPr userDrawn="1"/>
        </p:nvSpPr>
        <p:spPr>
          <a:xfrm flipH="1">
            <a:off x="11258550" y="5924550"/>
            <a:ext cx="933450" cy="93345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Right Triangle 3">
            <a:extLst>
              <a:ext uri="{FF2B5EF4-FFF2-40B4-BE49-F238E27FC236}">
                <a16:creationId xmlns:a16="http://schemas.microsoft.com/office/drawing/2014/main" id="{0EEAB7BC-73FD-4442-973B-067304E5E4F4}"/>
              </a:ext>
            </a:extLst>
          </p:cNvPr>
          <p:cNvSpPr/>
          <p:nvPr userDrawn="1"/>
        </p:nvSpPr>
        <p:spPr>
          <a:xfrm flipH="1">
            <a:off x="11351342" y="6017342"/>
            <a:ext cx="840658" cy="84065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Right Triangle 4">
            <a:extLst>
              <a:ext uri="{FF2B5EF4-FFF2-40B4-BE49-F238E27FC236}">
                <a16:creationId xmlns:a16="http://schemas.microsoft.com/office/drawing/2014/main" id="{65F190EB-7CD4-4A43-8142-315CB6C9ADA0}"/>
              </a:ext>
            </a:extLst>
          </p:cNvPr>
          <p:cNvSpPr/>
          <p:nvPr userDrawn="1"/>
        </p:nvSpPr>
        <p:spPr>
          <a:xfrm rot="5400000">
            <a:off x="99316" y="101920"/>
            <a:ext cx="457200" cy="45720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a:extLst>
              <a:ext uri="{FF2B5EF4-FFF2-40B4-BE49-F238E27FC236}">
                <a16:creationId xmlns:a16="http://schemas.microsoft.com/office/drawing/2014/main" id="{E2F0BC9B-343F-495C-894B-68701B4EF5D5}"/>
              </a:ext>
            </a:extLst>
          </p:cNvPr>
          <p:cNvSpPr txBox="1"/>
          <p:nvPr userDrawn="1"/>
        </p:nvSpPr>
        <p:spPr>
          <a:xfrm rot="16200000">
            <a:off x="-967865" y="3313584"/>
            <a:ext cx="2643554" cy="230832"/>
          </a:xfrm>
          <a:prstGeom prst="rect">
            <a:avLst/>
          </a:prstGeom>
          <a:noFill/>
        </p:spPr>
        <p:txBody>
          <a:bodyPr wrap="square" rtlCol="0">
            <a:spAutoFit/>
          </a:bodyPr>
          <a:lstStyle/>
          <a:p>
            <a:pPr algn="ctr"/>
            <a:r>
              <a:rPr lang="id-ID" sz="900" strike="noStrike" spc="600" dirty="0">
                <a:solidFill>
                  <a:schemeClr val="tx1">
                    <a:lumMod val="75000"/>
                    <a:lumOff val="25000"/>
                  </a:schemeClr>
                </a:solidFill>
                <a:latin typeface="Segoe UI" panose="020B0502040204020203" pitchFamily="34" charset="0"/>
                <a:cs typeface="Segoe UI" panose="020B0502040204020203" pitchFamily="34" charset="0"/>
              </a:rPr>
              <a:t>WWW.WEBSITE.COM</a:t>
            </a:r>
          </a:p>
        </p:txBody>
      </p:sp>
      <p:sp>
        <p:nvSpPr>
          <p:cNvPr id="11" name="Diagonal Stripe 10">
            <a:extLst>
              <a:ext uri="{FF2B5EF4-FFF2-40B4-BE49-F238E27FC236}">
                <a16:creationId xmlns:a16="http://schemas.microsoft.com/office/drawing/2014/main" id="{54C8C06D-5825-440E-AEE7-CEE630FE3695}"/>
              </a:ext>
            </a:extLst>
          </p:cNvPr>
          <p:cNvSpPr/>
          <p:nvPr userDrawn="1"/>
        </p:nvSpPr>
        <p:spPr>
          <a:xfrm>
            <a:off x="7759125" y="0"/>
            <a:ext cx="3982065" cy="3982065"/>
          </a:xfrm>
          <a:prstGeom prst="diagStripe">
            <a:avLst/>
          </a:prstGeom>
          <a:gradFill flip="none" rotWithShape="1">
            <a:gsLst>
              <a:gs pos="6000">
                <a:schemeClr val="tx1">
                  <a:lumMod val="75000"/>
                  <a:lumOff val="25000"/>
                  <a:alpha val="46000"/>
                </a:schemeClr>
              </a:gs>
              <a:gs pos="100000">
                <a:schemeClr val="tx1">
                  <a:lumMod val="85000"/>
                  <a:lumOff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12" name="Diagonal Stripe 11">
            <a:extLst>
              <a:ext uri="{FF2B5EF4-FFF2-40B4-BE49-F238E27FC236}">
                <a16:creationId xmlns:a16="http://schemas.microsoft.com/office/drawing/2014/main" id="{230498E5-3F76-46DC-BDD7-FEBA87F64D74}"/>
              </a:ext>
            </a:extLst>
          </p:cNvPr>
          <p:cNvSpPr/>
          <p:nvPr userDrawn="1"/>
        </p:nvSpPr>
        <p:spPr>
          <a:xfrm rot="5400000" flipH="1">
            <a:off x="7086946" y="1797430"/>
            <a:ext cx="3263139" cy="3263139"/>
          </a:xfrm>
          <a:prstGeom prst="diagStripe">
            <a:avLst/>
          </a:prstGeom>
          <a:solidFill>
            <a:schemeClr val="tx1">
              <a:lumMod val="75000"/>
              <a:lumOff val="2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id-ID">
              <a:solidFill>
                <a:schemeClr val="bg1">
                  <a:lumMod val="75000"/>
                </a:schemeClr>
              </a:solidFill>
            </a:endParaRPr>
          </a:p>
        </p:txBody>
      </p:sp>
      <p:sp>
        <p:nvSpPr>
          <p:cNvPr id="16" name="Picture Placeholder 15">
            <a:extLst>
              <a:ext uri="{FF2B5EF4-FFF2-40B4-BE49-F238E27FC236}">
                <a16:creationId xmlns:a16="http://schemas.microsoft.com/office/drawing/2014/main" id="{E1A0471F-4C4F-4CCD-ADBF-9598D961D9E8}"/>
              </a:ext>
            </a:extLst>
          </p:cNvPr>
          <p:cNvSpPr>
            <a:spLocks noGrp="1"/>
          </p:cNvSpPr>
          <p:nvPr>
            <p:ph type="pic" sz="quarter" idx="10"/>
          </p:nvPr>
        </p:nvSpPr>
        <p:spPr>
          <a:xfrm>
            <a:off x="8070851" y="4650940"/>
            <a:ext cx="3155029" cy="1053082"/>
          </a:xfrm>
          <a:custGeom>
            <a:avLst/>
            <a:gdLst>
              <a:gd name="connsiteX0" fmla="*/ 0 w 3155029"/>
              <a:gd name="connsiteY0" fmla="*/ 0 h 1053082"/>
              <a:gd name="connsiteX1" fmla="*/ 2094404 w 3155029"/>
              <a:gd name="connsiteY1" fmla="*/ 0 h 1053082"/>
              <a:gd name="connsiteX2" fmla="*/ 2108942 w 3155029"/>
              <a:gd name="connsiteY2" fmla="*/ 0 h 1053082"/>
              <a:gd name="connsiteX3" fmla="*/ 2101673 w 3155029"/>
              <a:gd name="connsiteY3" fmla="*/ 7217 h 1053082"/>
              <a:gd name="connsiteX4" fmla="*/ 3155029 w 3155029"/>
              <a:gd name="connsiteY4" fmla="*/ 1053082 h 1053082"/>
              <a:gd name="connsiteX5" fmla="*/ 1048318 w 3155029"/>
              <a:gd name="connsiteY5" fmla="*/ 1053082 h 1053082"/>
              <a:gd name="connsiteX6" fmla="*/ 1045467 w 3155029"/>
              <a:gd name="connsiteY6" fmla="*/ 1053082 h 1053082"/>
              <a:gd name="connsiteX7" fmla="*/ 1046892 w 3155029"/>
              <a:gd name="connsiteY7" fmla="*/ 1051651 h 1053082"/>
              <a:gd name="connsiteX8" fmla="*/ 0 w 3155029"/>
              <a:gd name="connsiteY8" fmla="*/ 623 h 105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5029" h="1053082">
                <a:moveTo>
                  <a:pt x="0" y="0"/>
                </a:moveTo>
                <a:lnTo>
                  <a:pt x="2094404" y="0"/>
                </a:lnTo>
                <a:lnTo>
                  <a:pt x="2108942" y="0"/>
                </a:lnTo>
                <a:lnTo>
                  <a:pt x="2101673" y="7217"/>
                </a:lnTo>
                <a:lnTo>
                  <a:pt x="3155029" y="1053082"/>
                </a:lnTo>
                <a:lnTo>
                  <a:pt x="1048318" y="1053082"/>
                </a:lnTo>
                <a:lnTo>
                  <a:pt x="1045467" y="1053082"/>
                </a:lnTo>
                <a:lnTo>
                  <a:pt x="1046892" y="1051651"/>
                </a:lnTo>
                <a:lnTo>
                  <a:pt x="0" y="623"/>
                </a:lnTo>
                <a:close/>
              </a:path>
            </a:pathLst>
          </a:custGeom>
          <a:effectLst>
            <a:outerShdw blurRad="355600" dist="38100" dir="5400000" algn="t" rotWithShape="0">
              <a:schemeClr val="tx1">
                <a:lumMod val="75000"/>
                <a:lumOff val="25000"/>
                <a:alpha val="40000"/>
              </a:schemeClr>
            </a:outerShdw>
          </a:effectLst>
        </p:spPr>
        <p:txBody>
          <a:bodyPr wrap="square">
            <a:noAutofit/>
          </a:bodyPr>
          <a:lstStyle>
            <a:lvl1pPr marL="0" indent="0">
              <a:buNone/>
              <a:defRPr>
                <a:solidFill>
                  <a:schemeClr val="bg1">
                    <a:lumMod val="75000"/>
                  </a:schemeClr>
                </a:solidFill>
              </a:defRPr>
            </a:lvl1pPr>
          </a:lstStyle>
          <a:p>
            <a:endParaRPr lang="id-ID" dirty="0"/>
          </a:p>
        </p:txBody>
      </p:sp>
      <p:sp>
        <p:nvSpPr>
          <p:cNvPr id="17" name="Picture Placeholder 16">
            <a:extLst>
              <a:ext uri="{FF2B5EF4-FFF2-40B4-BE49-F238E27FC236}">
                <a16:creationId xmlns:a16="http://schemas.microsoft.com/office/drawing/2014/main" id="{E8493672-B515-4055-A655-C84BDEFE61DE}"/>
              </a:ext>
            </a:extLst>
          </p:cNvPr>
          <p:cNvSpPr>
            <a:spLocks noGrp="1"/>
          </p:cNvSpPr>
          <p:nvPr>
            <p:ph type="pic" sz="quarter" idx="11"/>
          </p:nvPr>
        </p:nvSpPr>
        <p:spPr>
          <a:xfrm>
            <a:off x="3056122" y="1797430"/>
            <a:ext cx="3155029" cy="1053082"/>
          </a:xfrm>
          <a:custGeom>
            <a:avLst/>
            <a:gdLst>
              <a:gd name="connsiteX0" fmla="*/ 0 w 3155029"/>
              <a:gd name="connsiteY0" fmla="*/ 0 h 1053082"/>
              <a:gd name="connsiteX1" fmla="*/ 2094404 w 3155029"/>
              <a:gd name="connsiteY1" fmla="*/ 0 h 1053082"/>
              <a:gd name="connsiteX2" fmla="*/ 2108942 w 3155029"/>
              <a:gd name="connsiteY2" fmla="*/ 0 h 1053082"/>
              <a:gd name="connsiteX3" fmla="*/ 2101673 w 3155029"/>
              <a:gd name="connsiteY3" fmla="*/ 7217 h 1053082"/>
              <a:gd name="connsiteX4" fmla="*/ 3155029 w 3155029"/>
              <a:gd name="connsiteY4" fmla="*/ 1053082 h 1053082"/>
              <a:gd name="connsiteX5" fmla="*/ 1048318 w 3155029"/>
              <a:gd name="connsiteY5" fmla="*/ 1053082 h 1053082"/>
              <a:gd name="connsiteX6" fmla="*/ 1045467 w 3155029"/>
              <a:gd name="connsiteY6" fmla="*/ 1053082 h 1053082"/>
              <a:gd name="connsiteX7" fmla="*/ 1046892 w 3155029"/>
              <a:gd name="connsiteY7" fmla="*/ 1051651 h 1053082"/>
              <a:gd name="connsiteX8" fmla="*/ 0 w 3155029"/>
              <a:gd name="connsiteY8" fmla="*/ 623 h 105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5029" h="1053082">
                <a:moveTo>
                  <a:pt x="0" y="0"/>
                </a:moveTo>
                <a:lnTo>
                  <a:pt x="2094404" y="0"/>
                </a:lnTo>
                <a:lnTo>
                  <a:pt x="2108942" y="0"/>
                </a:lnTo>
                <a:lnTo>
                  <a:pt x="2101673" y="7217"/>
                </a:lnTo>
                <a:lnTo>
                  <a:pt x="3155029" y="1053082"/>
                </a:lnTo>
                <a:lnTo>
                  <a:pt x="1048318" y="1053082"/>
                </a:lnTo>
                <a:lnTo>
                  <a:pt x="1045467" y="1053082"/>
                </a:lnTo>
                <a:lnTo>
                  <a:pt x="1046892" y="1051651"/>
                </a:lnTo>
                <a:lnTo>
                  <a:pt x="0" y="623"/>
                </a:lnTo>
                <a:close/>
              </a:path>
            </a:pathLst>
          </a:custGeom>
          <a:effectLst>
            <a:outerShdw blurRad="355600" dist="38100" dir="5400000" algn="t" rotWithShape="0">
              <a:schemeClr val="tx1">
                <a:lumMod val="75000"/>
                <a:lumOff val="25000"/>
                <a:alpha val="40000"/>
              </a:schemeClr>
            </a:outerShdw>
          </a:effectLst>
        </p:spPr>
        <p:txBody>
          <a:bodyPr wrap="square">
            <a:noAutofit/>
          </a:bodyPr>
          <a:lstStyle>
            <a:lvl1pPr marL="0" indent="0">
              <a:buNone/>
              <a:defRPr>
                <a:solidFill>
                  <a:schemeClr val="bg1">
                    <a:lumMod val="75000"/>
                  </a:schemeClr>
                </a:solidFill>
              </a:defRPr>
            </a:lvl1pPr>
          </a:lstStyle>
          <a:p>
            <a:endParaRPr lang="id-ID" dirty="0"/>
          </a:p>
        </p:txBody>
      </p:sp>
    </p:spTree>
    <p:extLst>
      <p:ext uri="{BB962C8B-B14F-4D97-AF65-F5344CB8AC3E}">
        <p14:creationId xmlns:p14="http://schemas.microsoft.com/office/powerpoint/2010/main" val="2734019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10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22" presetClass="entr" presetSubtype="4" fill="hold" grpId="0" nodeType="withEffect" nodePh="1">
                                  <p:stCondLst>
                                    <p:cond delay="5750"/>
                                  </p:stCondLst>
                                  <p:endCondLst>
                                    <p:cond evt="begin" delay="0">
                                      <p:tn val="10"/>
                                    </p:cond>
                                  </p:end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par>
                                <p:cTn id="13" presetID="22" presetClass="entr" presetSubtype="4" fill="hold" grpId="0" nodeType="withEffect" nodePh="1">
                                  <p:stCondLst>
                                    <p:cond delay="5500"/>
                                  </p:stCondLst>
                                  <p:endCondLst>
                                    <p:cond evt="begin" delay="0">
                                      <p:tn val="13"/>
                                    </p:cond>
                                  </p:endCondLst>
                                  <p:childTnLst>
                                    <p:set>
                                      <p:cBhvr>
                                        <p:cTn id="14" dur="1" fill="hold">
                                          <p:stCondLst>
                                            <p:cond delay="0"/>
                                          </p:stCondLst>
                                        </p:cTn>
                                        <p:tgtEl>
                                          <p:spTgt spid="16"/>
                                        </p:tgtEl>
                                        <p:attrNameLst>
                                          <p:attrName>style.visibility</p:attrName>
                                        </p:attrNameLst>
                                      </p:cBhvr>
                                      <p:to>
                                        <p:strVal val="visible"/>
                                      </p:to>
                                    </p:set>
                                    <p:animEffect transition="in" filter="wipe(down)">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6" grpId="0"/>
      <p:bldP spid="17"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DFEA532-17F7-4F43-B0BC-D71505ADC0F2}"/>
              </a:ext>
            </a:extLst>
          </p:cNvPr>
          <p:cNvSpPr>
            <a:spLocks noGrp="1"/>
          </p:cNvSpPr>
          <p:nvPr>
            <p:ph type="pic" sz="quarter" idx="10"/>
          </p:nvPr>
        </p:nvSpPr>
        <p:spPr>
          <a:xfrm>
            <a:off x="6794601" y="958644"/>
            <a:ext cx="4594124" cy="4594124"/>
          </a:xfrm>
          <a:custGeom>
            <a:avLst/>
            <a:gdLst>
              <a:gd name="connsiteX0" fmla="*/ 2297062 w 4594124"/>
              <a:gd name="connsiteY0" fmla="*/ 0 h 4594124"/>
              <a:gd name="connsiteX1" fmla="*/ 4594124 w 4594124"/>
              <a:gd name="connsiteY1" fmla="*/ 0 h 4594124"/>
              <a:gd name="connsiteX2" fmla="*/ 0 w 4594124"/>
              <a:gd name="connsiteY2" fmla="*/ 4594124 h 4594124"/>
              <a:gd name="connsiteX3" fmla="*/ 0 w 4594124"/>
              <a:gd name="connsiteY3" fmla="*/ 2297062 h 4594124"/>
            </a:gdLst>
            <a:ahLst/>
            <a:cxnLst>
              <a:cxn ang="0">
                <a:pos x="connsiteX0" y="connsiteY0"/>
              </a:cxn>
              <a:cxn ang="0">
                <a:pos x="connsiteX1" y="connsiteY1"/>
              </a:cxn>
              <a:cxn ang="0">
                <a:pos x="connsiteX2" y="connsiteY2"/>
              </a:cxn>
              <a:cxn ang="0">
                <a:pos x="connsiteX3" y="connsiteY3"/>
              </a:cxn>
            </a:cxnLst>
            <a:rect l="l" t="t" r="r" b="b"/>
            <a:pathLst>
              <a:path w="4594124" h="4594124">
                <a:moveTo>
                  <a:pt x="2297062" y="0"/>
                </a:moveTo>
                <a:lnTo>
                  <a:pt x="4594124" y="0"/>
                </a:lnTo>
                <a:lnTo>
                  <a:pt x="0" y="4594124"/>
                </a:lnTo>
                <a:lnTo>
                  <a:pt x="0" y="2297062"/>
                </a:lnTo>
                <a:close/>
              </a:path>
            </a:pathLst>
          </a:custGeom>
        </p:spPr>
        <p:txBody>
          <a:bodyPr wrap="square">
            <a:noAutofit/>
          </a:bodyPr>
          <a:lstStyle>
            <a:lvl1pPr marL="0" indent="0">
              <a:buNone/>
              <a:defRPr>
                <a:solidFill>
                  <a:schemeClr val="bg1">
                    <a:lumMod val="75000"/>
                  </a:schemeClr>
                </a:solidFill>
              </a:defRPr>
            </a:lvl1pPr>
          </a:lstStyle>
          <a:p>
            <a:endParaRPr lang="id-ID"/>
          </a:p>
        </p:txBody>
      </p:sp>
      <p:sp>
        <p:nvSpPr>
          <p:cNvPr id="3" name="Diagonal Stripe 2">
            <a:extLst>
              <a:ext uri="{FF2B5EF4-FFF2-40B4-BE49-F238E27FC236}">
                <a16:creationId xmlns:a16="http://schemas.microsoft.com/office/drawing/2014/main" id="{F2551ABD-A0A7-4FAD-AF34-6781AA17F0F5}"/>
              </a:ext>
            </a:extLst>
          </p:cNvPr>
          <p:cNvSpPr/>
          <p:nvPr userDrawn="1"/>
        </p:nvSpPr>
        <p:spPr>
          <a:xfrm>
            <a:off x="6947001" y="1111044"/>
            <a:ext cx="4594124" cy="4594124"/>
          </a:xfrm>
          <a:prstGeom prst="diagStrip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id-ID">
              <a:solidFill>
                <a:schemeClr val="bg1">
                  <a:lumMod val="75000"/>
                </a:schemeClr>
              </a:solidFill>
            </a:endParaRPr>
          </a:p>
        </p:txBody>
      </p:sp>
    </p:spTree>
    <p:extLst>
      <p:ext uri="{BB962C8B-B14F-4D97-AF65-F5344CB8AC3E}">
        <p14:creationId xmlns:p14="http://schemas.microsoft.com/office/powerpoint/2010/main" val="526426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54AFC4F-72CF-4142-804A-8A6C613A0DF6}"/>
              </a:ext>
            </a:extLst>
          </p:cNvPr>
          <p:cNvSpPr>
            <a:spLocks noGrp="1"/>
          </p:cNvSpPr>
          <p:nvPr>
            <p:ph type="pic" sz="quarter" idx="10"/>
          </p:nvPr>
        </p:nvSpPr>
        <p:spPr>
          <a:xfrm>
            <a:off x="995537" y="1002140"/>
            <a:ext cx="4853720" cy="4853720"/>
          </a:xfrm>
          <a:custGeom>
            <a:avLst/>
            <a:gdLst>
              <a:gd name="connsiteX0" fmla="*/ 638120 w 6410259"/>
              <a:gd name="connsiteY0" fmla="*/ 1499140 h 6410259"/>
              <a:gd name="connsiteX1" fmla="*/ 638120 w 6410259"/>
              <a:gd name="connsiteY1" fmla="*/ 5829598 h 6410259"/>
              <a:gd name="connsiteX2" fmla="*/ 4968579 w 6410259"/>
              <a:gd name="connsiteY2" fmla="*/ 5829598 h 6410259"/>
              <a:gd name="connsiteX3" fmla="*/ 0 w 6410259"/>
              <a:gd name="connsiteY3" fmla="*/ 0 h 6410259"/>
              <a:gd name="connsiteX4" fmla="*/ 6410259 w 6410259"/>
              <a:gd name="connsiteY4" fmla="*/ 6410259 h 6410259"/>
              <a:gd name="connsiteX5" fmla="*/ 0 w 6410259"/>
              <a:gd name="connsiteY5" fmla="*/ 6410259 h 641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0259" h="6410259">
                <a:moveTo>
                  <a:pt x="638120" y="1499140"/>
                </a:moveTo>
                <a:lnTo>
                  <a:pt x="638120" y="5829598"/>
                </a:lnTo>
                <a:lnTo>
                  <a:pt x="4968579" y="5829598"/>
                </a:lnTo>
                <a:close/>
                <a:moveTo>
                  <a:pt x="0" y="0"/>
                </a:moveTo>
                <a:lnTo>
                  <a:pt x="6410259" y="6410259"/>
                </a:lnTo>
                <a:lnTo>
                  <a:pt x="0" y="6410259"/>
                </a:lnTo>
                <a:close/>
              </a:path>
            </a:pathLst>
          </a:custGeom>
          <a:solidFill>
            <a:schemeClr val="bg1">
              <a:lumMod val="95000"/>
            </a:schemeClr>
          </a:solidFill>
        </p:spPr>
        <p:txBody>
          <a:bodyPr wrap="square">
            <a:noAutofit/>
          </a:bodyPr>
          <a:lstStyle>
            <a:lvl1pPr marL="0" indent="0">
              <a:buNone/>
              <a:defRPr>
                <a:solidFill>
                  <a:schemeClr val="bg1">
                    <a:lumMod val="75000"/>
                  </a:schemeClr>
                </a:solidFill>
              </a:defRPr>
            </a:lvl1pPr>
          </a:lstStyle>
          <a:p>
            <a:endParaRPr lang="id-ID"/>
          </a:p>
        </p:txBody>
      </p:sp>
      <p:sp>
        <p:nvSpPr>
          <p:cNvPr id="11" name="Picture Placeholder 10">
            <a:extLst>
              <a:ext uri="{FF2B5EF4-FFF2-40B4-BE49-F238E27FC236}">
                <a16:creationId xmlns:a16="http://schemas.microsoft.com/office/drawing/2014/main" id="{EF4D57BB-8475-496F-8A92-FC9163F71EB1}"/>
              </a:ext>
            </a:extLst>
          </p:cNvPr>
          <p:cNvSpPr>
            <a:spLocks noGrp="1"/>
          </p:cNvSpPr>
          <p:nvPr>
            <p:ph type="pic" sz="quarter" idx="11"/>
          </p:nvPr>
        </p:nvSpPr>
        <p:spPr>
          <a:xfrm>
            <a:off x="2036616" y="1227390"/>
            <a:ext cx="4059384" cy="3777741"/>
          </a:xfrm>
          <a:custGeom>
            <a:avLst/>
            <a:gdLst>
              <a:gd name="connsiteX0" fmla="*/ 900143 w 4059384"/>
              <a:gd name="connsiteY0" fmla="*/ 618500 h 3777741"/>
              <a:gd name="connsiteX1" fmla="*/ 4059384 w 4059384"/>
              <a:gd name="connsiteY1" fmla="*/ 618500 h 3777741"/>
              <a:gd name="connsiteX2" fmla="*/ 4059384 w 4059384"/>
              <a:gd name="connsiteY2" fmla="*/ 3777741 h 3777741"/>
              <a:gd name="connsiteX3" fmla="*/ 0 w 4059384"/>
              <a:gd name="connsiteY3" fmla="*/ 0 h 3777741"/>
              <a:gd name="connsiteX4" fmla="*/ 3159241 w 4059384"/>
              <a:gd name="connsiteY4" fmla="*/ 3159241 h 3777741"/>
              <a:gd name="connsiteX5" fmla="*/ 0 w 4059384"/>
              <a:gd name="connsiteY5" fmla="*/ 3159241 h 377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9384" h="3777741">
                <a:moveTo>
                  <a:pt x="900143" y="618500"/>
                </a:moveTo>
                <a:lnTo>
                  <a:pt x="4059384" y="618500"/>
                </a:lnTo>
                <a:lnTo>
                  <a:pt x="4059384" y="3777741"/>
                </a:lnTo>
                <a:close/>
                <a:moveTo>
                  <a:pt x="0" y="0"/>
                </a:moveTo>
                <a:lnTo>
                  <a:pt x="3159241" y="3159241"/>
                </a:lnTo>
                <a:lnTo>
                  <a:pt x="0" y="3159241"/>
                </a:lnTo>
                <a:close/>
              </a:path>
            </a:pathLst>
          </a:custGeom>
          <a:solidFill>
            <a:schemeClr val="bg1">
              <a:lumMod val="75000"/>
            </a:schemeClr>
          </a:solidFill>
        </p:spPr>
        <p:txBody>
          <a:bodyPr wrap="square">
            <a:noAutofit/>
          </a:bodyPr>
          <a:lstStyle>
            <a:lvl1pPr marL="0" indent="0">
              <a:buNone/>
              <a:defRPr>
                <a:solidFill>
                  <a:schemeClr val="bg1">
                    <a:lumMod val="75000"/>
                  </a:schemeClr>
                </a:solidFill>
              </a:defRPr>
            </a:lvl1pPr>
          </a:lstStyle>
          <a:p>
            <a:endParaRPr lang="id-ID" dirty="0"/>
          </a:p>
        </p:txBody>
      </p:sp>
    </p:spTree>
    <p:extLst>
      <p:ext uri="{BB962C8B-B14F-4D97-AF65-F5344CB8AC3E}">
        <p14:creationId xmlns:p14="http://schemas.microsoft.com/office/powerpoint/2010/main" val="4060209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3E2CB6E-3EA4-41B5-A712-E40F67CDA697}"/>
              </a:ext>
            </a:extLst>
          </p:cNvPr>
          <p:cNvSpPr>
            <a:spLocks noGrp="1"/>
          </p:cNvSpPr>
          <p:nvPr>
            <p:ph type="pic" sz="quarter" idx="10"/>
          </p:nvPr>
        </p:nvSpPr>
        <p:spPr>
          <a:xfrm>
            <a:off x="1705844" y="0"/>
            <a:ext cx="9682427" cy="4841214"/>
          </a:xfrm>
          <a:custGeom>
            <a:avLst/>
            <a:gdLst>
              <a:gd name="connsiteX0" fmla="*/ 0 w 9682427"/>
              <a:gd name="connsiteY0" fmla="*/ 0 h 4841214"/>
              <a:gd name="connsiteX1" fmla="*/ 9682427 w 9682427"/>
              <a:gd name="connsiteY1" fmla="*/ 0 h 4841214"/>
              <a:gd name="connsiteX2" fmla="*/ 4841214 w 9682427"/>
              <a:gd name="connsiteY2" fmla="*/ 4841214 h 4841214"/>
            </a:gdLst>
            <a:ahLst/>
            <a:cxnLst>
              <a:cxn ang="0">
                <a:pos x="connsiteX0" y="connsiteY0"/>
              </a:cxn>
              <a:cxn ang="0">
                <a:pos x="connsiteX1" y="connsiteY1"/>
              </a:cxn>
              <a:cxn ang="0">
                <a:pos x="connsiteX2" y="connsiteY2"/>
              </a:cxn>
            </a:cxnLst>
            <a:rect l="l" t="t" r="r" b="b"/>
            <a:pathLst>
              <a:path w="9682427" h="4841214">
                <a:moveTo>
                  <a:pt x="0" y="0"/>
                </a:moveTo>
                <a:lnTo>
                  <a:pt x="9682427" y="0"/>
                </a:lnTo>
                <a:lnTo>
                  <a:pt x="4841214" y="4841214"/>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9" name="Picture Placeholder 8">
            <a:extLst>
              <a:ext uri="{FF2B5EF4-FFF2-40B4-BE49-F238E27FC236}">
                <a16:creationId xmlns:a16="http://schemas.microsoft.com/office/drawing/2014/main" id="{188382D7-4662-4562-86E3-3656C6D6223D}"/>
              </a:ext>
            </a:extLst>
          </p:cNvPr>
          <p:cNvSpPr>
            <a:spLocks noGrp="1"/>
          </p:cNvSpPr>
          <p:nvPr>
            <p:ph type="pic" sz="quarter" idx="11"/>
          </p:nvPr>
        </p:nvSpPr>
        <p:spPr>
          <a:xfrm>
            <a:off x="4763729" y="3293067"/>
            <a:ext cx="7129865" cy="3564932"/>
          </a:xfrm>
          <a:custGeom>
            <a:avLst/>
            <a:gdLst>
              <a:gd name="connsiteX0" fmla="*/ 3564933 w 7129865"/>
              <a:gd name="connsiteY0" fmla="*/ 0 h 3564932"/>
              <a:gd name="connsiteX1" fmla="*/ 7129865 w 7129865"/>
              <a:gd name="connsiteY1" fmla="*/ 3564932 h 3564932"/>
              <a:gd name="connsiteX2" fmla="*/ 0 w 7129865"/>
              <a:gd name="connsiteY2" fmla="*/ 3564932 h 3564932"/>
            </a:gdLst>
            <a:ahLst/>
            <a:cxnLst>
              <a:cxn ang="0">
                <a:pos x="connsiteX0" y="connsiteY0"/>
              </a:cxn>
              <a:cxn ang="0">
                <a:pos x="connsiteX1" y="connsiteY1"/>
              </a:cxn>
              <a:cxn ang="0">
                <a:pos x="connsiteX2" y="connsiteY2"/>
              </a:cxn>
            </a:cxnLst>
            <a:rect l="l" t="t" r="r" b="b"/>
            <a:pathLst>
              <a:path w="7129865" h="3564932">
                <a:moveTo>
                  <a:pt x="3564933" y="0"/>
                </a:moveTo>
                <a:lnTo>
                  <a:pt x="7129865" y="3564932"/>
                </a:lnTo>
                <a:lnTo>
                  <a:pt x="0" y="3564932"/>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4" name="Freeform: Shape 3">
            <a:extLst>
              <a:ext uri="{FF2B5EF4-FFF2-40B4-BE49-F238E27FC236}">
                <a16:creationId xmlns:a16="http://schemas.microsoft.com/office/drawing/2014/main" id="{7D3C346D-2CA3-460A-992E-D31596CE81ED}"/>
              </a:ext>
            </a:extLst>
          </p:cNvPr>
          <p:cNvSpPr/>
          <p:nvPr userDrawn="1"/>
        </p:nvSpPr>
        <p:spPr>
          <a:xfrm rot="10800000">
            <a:off x="1" y="1902079"/>
            <a:ext cx="6566107" cy="2939135"/>
          </a:xfrm>
          <a:custGeom>
            <a:avLst/>
            <a:gdLst>
              <a:gd name="connsiteX0" fmla="*/ 6566107 w 6566107"/>
              <a:gd name="connsiteY0" fmla="*/ 2939135 h 2939135"/>
              <a:gd name="connsiteX1" fmla="*/ 6297740 w 6566107"/>
              <a:gd name="connsiteY1" fmla="*/ 2939135 h 2939135"/>
              <a:gd name="connsiteX2" fmla="*/ 6180349 w 6566107"/>
              <a:gd name="connsiteY2" fmla="*/ 2939135 h 2939135"/>
              <a:gd name="connsiteX3" fmla="*/ 5911982 w 6566107"/>
              <a:gd name="connsiteY3" fmla="*/ 2939135 h 2939135"/>
              <a:gd name="connsiteX4" fmla="*/ 3407215 w 6566107"/>
              <a:gd name="connsiteY4" fmla="*/ 2939135 h 2939135"/>
              <a:gd name="connsiteX5" fmla="*/ 3324894 w 6566107"/>
              <a:gd name="connsiteY5" fmla="*/ 2939135 h 2939135"/>
              <a:gd name="connsiteX6" fmla="*/ 3021457 w 6566107"/>
              <a:gd name="connsiteY6" fmla="*/ 2939135 h 2939135"/>
              <a:gd name="connsiteX7" fmla="*/ 2939136 w 6566107"/>
              <a:gd name="connsiteY7" fmla="*/ 2939135 h 2939135"/>
              <a:gd name="connsiteX8" fmla="*/ 0 w 6566107"/>
              <a:gd name="connsiteY8" fmla="*/ 0 h 2939135"/>
              <a:gd name="connsiteX9" fmla="*/ 77033 w 6566107"/>
              <a:gd name="connsiteY9" fmla="*/ 0 h 2939135"/>
              <a:gd name="connsiteX10" fmla="*/ 385758 w 6566107"/>
              <a:gd name="connsiteY10" fmla="*/ 0 h 2939135"/>
              <a:gd name="connsiteX11" fmla="*/ 462791 w 6566107"/>
              <a:gd name="connsiteY11" fmla="*/ 0 h 2939135"/>
              <a:gd name="connsiteX12" fmla="*/ 5911982 w 6566107"/>
              <a:gd name="connsiteY12" fmla="*/ 0 h 2939135"/>
              <a:gd name="connsiteX13" fmla="*/ 6180349 w 6566107"/>
              <a:gd name="connsiteY13" fmla="*/ 0 h 2939135"/>
              <a:gd name="connsiteX14" fmla="*/ 6297740 w 6566107"/>
              <a:gd name="connsiteY14" fmla="*/ 0 h 2939135"/>
              <a:gd name="connsiteX15" fmla="*/ 6566107 w 6566107"/>
              <a:gd name="connsiteY15" fmla="*/ 0 h 293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66107" h="2939135">
                <a:moveTo>
                  <a:pt x="6566107" y="2939135"/>
                </a:moveTo>
                <a:lnTo>
                  <a:pt x="6297740" y="2939135"/>
                </a:lnTo>
                <a:lnTo>
                  <a:pt x="6180349" y="2939135"/>
                </a:lnTo>
                <a:lnTo>
                  <a:pt x="5911982" y="2939135"/>
                </a:lnTo>
                <a:lnTo>
                  <a:pt x="3407215" y="2939135"/>
                </a:lnTo>
                <a:lnTo>
                  <a:pt x="3324894" y="2939135"/>
                </a:lnTo>
                <a:lnTo>
                  <a:pt x="3021457" y="2939135"/>
                </a:lnTo>
                <a:lnTo>
                  <a:pt x="2939136" y="2939135"/>
                </a:lnTo>
                <a:lnTo>
                  <a:pt x="0" y="0"/>
                </a:lnTo>
                <a:lnTo>
                  <a:pt x="77033" y="0"/>
                </a:lnTo>
                <a:lnTo>
                  <a:pt x="385758" y="0"/>
                </a:lnTo>
                <a:lnTo>
                  <a:pt x="462791" y="0"/>
                </a:lnTo>
                <a:lnTo>
                  <a:pt x="5911982" y="0"/>
                </a:lnTo>
                <a:lnTo>
                  <a:pt x="6180349" y="0"/>
                </a:lnTo>
                <a:lnTo>
                  <a:pt x="6297740" y="0"/>
                </a:lnTo>
                <a:lnTo>
                  <a:pt x="656610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spTree>
    <p:extLst>
      <p:ext uri="{BB962C8B-B14F-4D97-AF65-F5344CB8AC3E}">
        <p14:creationId xmlns:p14="http://schemas.microsoft.com/office/powerpoint/2010/main" val="3096983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nodePh="1">
                                  <p:stCondLst>
                                    <p:cond delay="25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nodePh="1">
                                  <p:stCondLst>
                                    <p:cond delay="250"/>
                                  </p:stCondLst>
                                  <p:endCondLst>
                                    <p:cond evt="begin" delay="0">
                                      <p:tn val="9"/>
                                    </p:cond>
                                  </p:end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ppt_x"/>
                                          </p:val>
                                        </p:tav>
                                        <p:tav tm="100000">
                                          <p:val>
                                            <p:strVal val="#ppt_x"/>
                                          </p:val>
                                        </p:tav>
                                      </p:tavLst>
                                    </p:anim>
                                    <p:anim calcmode="lin" valueType="num">
                                      <p:cBhvr additive="base">
                                        <p:cTn id="12" dur="1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0-#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4"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D650CE02-2962-4C04-AFE2-1CAE840EBD15}"/>
              </a:ext>
            </a:extLst>
          </p:cNvPr>
          <p:cNvSpPr/>
          <p:nvPr userDrawn="1"/>
        </p:nvSpPr>
        <p:spPr>
          <a:xfrm>
            <a:off x="1447800" y="2251711"/>
            <a:ext cx="14268449" cy="3476116"/>
          </a:xfrm>
          <a:prstGeom prst="parallelogram">
            <a:avLst>
              <a:gd name="adj" fmla="val 99062"/>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Picture Placeholder 5">
            <a:extLst>
              <a:ext uri="{FF2B5EF4-FFF2-40B4-BE49-F238E27FC236}">
                <a16:creationId xmlns:a16="http://schemas.microsoft.com/office/drawing/2014/main" id="{E25DABB8-F424-4C5B-9029-AA2348A87BAC}"/>
              </a:ext>
            </a:extLst>
          </p:cNvPr>
          <p:cNvSpPr>
            <a:spLocks noGrp="1"/>
          </p:cNvSpPr>
          <p:nvPr>
            <p:ph type="pic" sz="quarter" idx="10"/>
          </p:nvPr>
        </p:nvSpPr>
        <p:spPr>
          <a:xfrm>
            <a:off x="1447802" y="0"/>
            <a:ext cx="3441699" cy="5538285"/>
          </a:xfrm>
          <a:custGeom>
            <a:avLst/>
            <a:gdLst>
              <a:gd name="connsiteX0" fmla="*/ 0 w 3441699"/>
              <a:gd name="connsiteY0" fmla="*/ 0 h 5538285"/>
              <a:gd name="connsiteX1" fmla="*/ 3441699 w 3441699"/>
              <a:gd name="connsiteY1" fmla="*/ 0 h 5538285"/>
              <a:gd name="connsiteX2" fmla="*/ 3441699 w 3441699"/>
              <a:gd name="connsiteY2" fmla="*/ 2128869 h 5538285"/>
              <a:gd name="connsiteX3" fmla="*/ 0 w 3441699"/>
              <a:gd name="connsiteY3" fmla="*/ 5538285 h 5538285"/>
            </a:gdLst>
            <a:ahLst/>
            <a:cxnLst>
              <a:cxn ang="0">
                <a:pos x="connsiteX0" y="connsiteY0"/>
              </a:cxn>
              <a:cxn ang="0">
                <a:pos x="connsiteX1" y="connsiteY1"/>
              </a:cxn>
              <a:cxn ang="0">
                <a:pos x="connsiteX2" y="connsiteY2"/>
              </a:cxn>
              <a:cxn ang="0">
                <a:pos x="connsiteX3" y="connsiteY3"/>
              </a:cxn>
            </a:cxnLst>
            <a:rect l="l" t="t" r="r" b="b"/>
            <a:pathLst>
              <a:path w="3441699" h="5538285">
                <a:moveTo>
                  <a:pt x="0" y="0"/>
                </a:moveTo>
                <a:lnTo>
                  <a:pt x="3441699" y="0"/>
                </a:lnTo>
                <a:lnTo>
                  <a:pt x="3441699" y="2128869"/>
                </a:lnTo>
                <a:lnTo>
                  <a:pt x="0" y="5538285"/>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Tree>
    <p:extLst>
      <p:ext uri="{BB962C8B-B14F-4D97-AF65-F5344CB8AC3E}">
        <p14:creationId xmlns:p14="http://schemas.microsoft.com/office/powerpoint/2010/main" val="35711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nodePh="1">
                                  <p:stCondLst>
                                    <p:cond delay="50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ppt_x"/>
                                          </p:val>
                                        </p:tav>
                                        <p:tav tm="100000">
                                          <p:val>
                                            <p:strVal val="#ppt_x"/>
                                          </p:val>
                                        </p:tav>
                                      </p:tavLst>
                                    </p:anim>
                                    <p:anim calcmode="lin" valueType="num">
                                      <p:cBhvr additive="base">
                                        <p:cTn id="12" dur="10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25DABB8-F424-4C5B-9029-AA2348A87BAC}"/>
              </a:ext>
            </a:extLst>
          </p:cNvPr>
          <p:cNvSpPr>
            <a:spLocks noGrp="1"/>
          </p:cNvSpPr>
          <p:nvPr>
            <p:ph type="pic" sz="quarter" idx="10"/>
          </p:nvPr>
        </p:nvSpPr>
        <p:spPr>
          <a:xfrm flipH="1">
            <a:off x="6664379" y="0"/>
            <a:ext cx="3441699" cy="5538285"/>
          </a:xfrm>
          <a:custGeom>
            <a:avLst/>
            <a:gdLst>
              <a:gd name="connsiteX0" fmla="*/ 0 w 3441699"/>
              <a:gd name="connsiteY0" fmla="*/ 0 h 5538285"/>
              <a:gd name="connsiteX1" fmla="*/ 3441699 w 3441699"/>
              <a:gd name="connsiteY1" fmla="*/ 0 h 5538285"/>
              <a:gd name="connsiteX2" fmla="*/ 3441699 w 3441699"/>
              <a:gd name="connsiteY2" fmla="*/ 2128869 h 5538285"/>
              <a:gd name="connsiteX3" fmla="*/ 0 w 3441699"/>
              <a:gd name="connsiteY3" fmla="*/ 5538285 h 5538285"/>
            </a:gdLst>
            <a:ahLst/>
            <a:cxnLst>
              <a:cxn ang="0">
                <a:pos x="connsiteX0" y="connsiteY0"/>
              </a:cxn>
              <a:cxn ang="0">
                <a:pos x="connsiteX1" y="connsiteY1"/>
              </a:cxn>
              <a:cxn ang="0">
                <a:pos x="connsiteX2" y="connsiteY2"/>
              </a:cxn>
              <a:cxn ang="0">
                <a:pos x="connsiteX3" y="connsiteY3"/>
              </a:cxn>
            </a:cxnLst>
            <a:rect l="l" t="t" r="r" b="b"/>
            <a:pathLst>
              <a:path w="3441699" h="5538285">
                <a:moveTo>
                  <a:pt x="0" y="0"/>
                </a:moveTo>
                <a:lnTo>
                  <a:pt x="3441699" y="0"/>
                </a:lnTo>
                <a:lnTo>
                  <a:pt x="3441699" y="2128869"/>
                </a:lnTo>
                <a:lnTo>
                  <a:pt x="0" y="5538285"/>
                </a:lnTo>
                <a:close/>
              </a:path>
            </a:pathLst>
          </a:custGeom>
        </p:spPr>
        <p:txBody>
          <a:bodyPr wrap="square" anchor="ctr">
            <a:noAutofit/>
          </a:bodyPr>
          <a:lstStyle>
            <a:lvl1pPr marL="0" indent="0" algn="ctr">
              <a:buNone/>
              <a:defRPr>
                <a:solidFill>
                  <a:schemeClr val="bg1">
                    <a:lumMod val="75000"/>
                  </a:schemeClr>
                </a:solidFill>
              </a:defRPr>
            </a:lvl1pPr>
          </a:lstStyle>
          <a:p>
            <a:endParaRPr lang="id-ID"/>
          </a:p>
        </p:txBody>
      </p:sp>
      <p:sp>
        <p:nvSpPr>
          <p:cNvPr id="4" name="Right Triangle 3">
            <a:extLst>
              <a:ext uri="{FF2B5EF4-FFF2-40B4-BE49-F238E27FC236}">
                <a16:creationId xmlns:a16="http://schemas.microsoft.com/office/drawing/2014/main" id="{EFAC7F6D-0734-49DC-AD5B-CF7801910A68}"/>
              </a:ext>
            </a:extLst>
          </p:cNvPr>
          <p:cNvSpPr/>
          <p:nvPr userDrawn="1"/>
        </p:nvSpPr>
        <p:spPr>
          <a:xfrm>
            <a:off x="10290249" y="2251711"/>
            <a:ext cx="1612476" cy="1625727"/>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Parallelogram 1">
            <a:extLst>
              <a:ext uri="{FF2B5EF4-FFF2-40B4-BE49-F238E27FC236}">
                <a16:creationId xmlns:a16="http://schemas.microsoft.com/office/drawing/2014/main" id="{D650CE02-2962-4C04-AFE2-1CAE840EBD15}"/>
              </a:ext>
            </a:extLst>
          </p:cNvPr>
          <p:cNvSpPr/>
          <p:nvPr userDrawn="1"/>
        </p:nvSpPr>
        <p:spPr>
          <a:xfrm flipV="1">
            <a:off x="-4173512" y="2251711"/>
            <a:ext cx="14268449" cy="3476116"/>
          </a:xfrm>
          <a:prstGeom prst="parallelogram">
            <a:avLst>
              <a:gd name="adj" fmla="val 99062"/>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Right Triangle 4">
            <a:extLst>
              <a:ext uri="{FF2B5EF4-FFF2-40B4-BE49-F238E27FC236}">
                <a16:creationId xmlns:a16="http://schemas.microsoft.com/office/drawing/2014/main" id="{6305CEF7-D8F5-4EF1-BFBD-D73CA949118A}"/>
              </a:ext>
            </a:extLst>
          </p:cNvPr>
          <p:cNvSpPr/>
          <p:nvPr userDrawn="1"/>
        </p:nvSpPr>
        <p:spPr>
          <a:xfrm rot="5400000">
            <a:off x="10287209" y="4007352"/>
            <a:ext cx="872506" cy="87967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2991806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ppt_x"/>
                                          </p:val>
                                        </p:tav>
                                        <p:tav tm="100000">
                                          <p:val>
                                            <p:strVal val="#ppt_x"/>
                                          </p:val>
                                        </p:tav>
                                      </p:tavLst>
                                    </p:anim>
                                    <p:anim calcmode="lin" valueType="num">
                                      <p:cBhvr additive="base">
                                        <p:cTn id="12" dur="10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50" fill="hold"/>
                                        <p:tgtEl>
                                          <p:spTgt spid="4"/>
                                        </p:tgtEl>
                                        <p:attrNameLst>
                                          <p:attrName>ppt_x</p:attrName>
                                        </p:attrNameLst>
                                      </p:cBhvr>
                                      <p:tavLst>
                                        <p:tav tm="0">
                                          <p:val>
                                            <p:strVal val="1+#ppt_w/2"/>
                                          </p:val>
                                        </p:tav>
                                        <p:tav tm="100000">
                                          <p:val>
                                            <p:strVal val="#ppt_x"/>
                                          </p:val>
                                        </p:tav>
                                      </p:tavLst>
                                    </p:anim>
                                    <p:anim calcmode="lin" valueType="num">
                                      <p:cBhvr additive="base">
                                        <p:cTn id="16" dur="75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5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750" fill="hold"/>
                                        <p:tgtEl>
                                          <p:spTgt spid="5"/>
                                        </p:tgtEl>
                                        <p:attrNameLst>
                                          <p:attrName>ppt_x</p:attrName>
                                        </p:attrNameLst>
                                      </p:cBhvr>
                                      <p:tavLst>
                                        <p:tav tm="0">
                                          <p:val>
                                            <p:strVal val="1+#ppt_w/2"/>
                                          </p:val>
                                        </p:tav>
                                        <p:tav tm="100000">
                                          <p:val>
                                            <p:strVal val="#ppt_x"/>
                                          </p:val>
                                        </p:tav>
                                      </p:tavLst>
                                    </p:anim>
                                    <p:anim calcmode="lin" valueType="num">
                                      <p:cBhvr additive="base">
                                        <p:cTn id="20"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2" grpId="0" animBg="1"/>
      <p:bldP spid="5"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8A9C61F-E948-48E8-9020-8CC2A1C03FBC}"/>
              </a:ext>
            </a:extLst>
          </p:cNvPr>
          <p:cNvSpPr txBox="1"/>
          <p:nvPr userDrawn="1"/>
        </p:nvSpPr>
        <p:spPr>
          <a:xfrm>
            <a:off x="10030393" y="5534561"/>
            <a:ext cx="1753020" cy="1323439"/>
          </a:xfrm>
          <a:prstGeom prst="rect">
            <a:avLst/>
          </a:prstGeom>
          <a:noFill/>
        </p:spPr>
        <p:txBody>
          <a:bodyPr wrap="square" rtlCol="0">
            <a:spAutoFit/>
          </a:bodyPr>
          <a:lstStyle/>
          <a:p>
            <a:pPr algn="r"/>
            <a:r>
              <a:rPr lang="id-ID" sz="8000" b="1" i="1" dirty="0">
                <a:solidFill>
                  <a:schemeClr val="bg1">
                    <a:lumMod val="95000"/>
                  </a:schemeClr>
                </a:solidFill>
                <a:latin typeface="Anton" panose="00000500000000000000" pitchFamily="2" charset="0"/>
                <a:ea typeface="Liberation Sans" panose="020B0604020202020204" pitchFamily="34" charset="0"/>
                <a:cs typeface="Segoe UI" panose="020B0502040204020203" pitchFamily="34" charset="0"/>
              </a:rPr>
              <a:t>_</a:t>
            </a:r>
            <a:fld id="{260E2A6B-A809-4840-BF14-8648BC0BDF87}" type="slidenum">
              <a:rPr lang="id-ID" sz="8000" b="1" i="1" smtClean="0">
                <a:solidFill>
                  <a:schemeClr val="bg1">
                    <a:lumMod val="95000"/>
                  </a:schemeClr>
                </a:solidFill>
                <a:latin typeface="Anton" panose="00000500000000000000" pitchFamily="2" charset="0"/>
                <a:ea typeface="Liberation Sans" panose="020B0604020202020204" pitchFamily="34" charset="0"/>
                <a:cs typeface="Segoe UI" panose="020B0502040204020203" pitchFamily="34" charset="0"/>
              </a:rPr>
              <a:pPr algn="r"/>
              <a:t>‹#›</a:t>
            </a:fld>
            <a:endParaRPr lang="id-ID" sz="11500" b="1" i="1" dirty="0">
              <a:solidFill>
                <a:schemeClr val="bg1">
                  <a:lumMod val="95000"/>
                </a:schemeClr>
              </a:solidFill>
              <a:latin typeface="Anton" panose="00000500000000000000" pitchFamily="2" charset="0"/>
              <a:ea typeface="Liberation Sans" panose="020B0604020202020204" pitchFamily="34" charset="0"/>
              <a:cs typeface="Segoe UI" panose="020B0502040204020203" pitchFamily="34" charset="0"/>
            </a:endParaRPr>
          </a:p>
        </p:txBody>
      </p:sp>
      <p:sp>
        <p:nvSpPr>
          <p:cNvPr id="8" name="Right Triangle 7">
            <a:extLst>
              <a:ext uri="{FF2B5EF4-FFF2-40B4-BE49-F238E27FC236}">
                <a16:creationId xmlns:a16="http://schemas.microsoft.com/office/drawing/2014/main" id="{087E7C98-E339-4CF7-B650-3A7205E41332}"/>
              </a:ext>
            </a:extLst>
          </p:cNvPr>
          <p:cNvSpPr/>
          <p:nvPr userDrawn="1"/>
        </p:nvSpPr>
        <p:spPr>
          <a:xfrm flipH="1">
            <a:off x="11258550" y="5924550"/>
            <a:ext cx="933450" cy="93345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ight Triangle 8">
            <a:extLst>
              <a:ext uri="{FF2B5EF4-FFF2-40B4-BE49-F238E27FC236}">
                <a16:creationId xmlns:a16="http://schemas.microsoft.com/office/drawing/2014/main" id="{7AB601E9-6407-4B51-AE7A-9C3DD929B6F7}"/>
              </a:ext>
            </a:extLst>
          </p:cNvPr>
          <p:cNvSpPr/>
          <p:nvPr userDrawn="1"/>
        </p:nvSpPr>
        <p:spPr>
          <a:xfrm flipH="1">
            <a:off x="11351342" y="6017342"/>
            <a:ext cx="840658" cy="84065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Right Triangle 9">
            <a:extLst>
              <a:ext uri="{FF2B5EF4-FFF2-40B4-BE49-F238E27FC236}">
                <a16:creationId xmlns:a16="http://schemas.microsoft.com/office/drawing/2014/main" id="{69984F18-6C41-4B7F-A294-05C17B0831BD}"/>
              </a:ext>
            </a:extLst>
          </p:cNvPr>
          <p:cNvSpPr/>
          <p:nvPr userDrawn="1"/>
        </p:nvSpPr>
        <p:spPr>
          <a:xfrm rot="5400000">
            <a:off x="99316" y="101920"/>
            <a:ext cx="457200" cy="457200"/>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TextBox 10">
            <a:extLst>
              <a:ext uri="{FF2B5EF4-FFF2-40B4-BE49-F238E27FC236}">
                <a16:creationId xmlns:a16="http://schemas.microsoft.com/office/drawing/2014/main" id="{44FA38D1-5B97-4C06-8E6A-29C36C138E96}"/>
              </a:ext>
            </a:extLst>
          </p:cNvPr>
          <p:cNvSpPr txBox="1"/>
          <p:nvPr userDrawn="1"/>
        </p:nvSpPr>
        <p:spPr>
          <a:xfrm>
            <a:off x="426217" y="5502446"/>
            <a:ext cx="2900784" cy="1070218"/>
          </a:xfrm>
          <a:custGeom>
            <a:avLst/>
            <a:gdLst/>
            <a:ahLst/>
            <a:cxnLst/>
            <a:rect l="l" t="t" r="r" b="b"/>
            <a:pathLst>
              <a:path w="2900784" h="1070218">
                <a:moveTo>
                  <a:pt x="2740764" y="929401"/>
                </a:moveTo>
                <a:lnTo>
                  <a:pt x="2900784" y="929401"/>
                </a:lnTo>
                <a:lnTo>
                  <a:pt x="2855407" y="1062903"/>
                </a:lnTo>
                <a:lnTo>
                  <a:pt x="2695387" y="1062903"/>
                </a:lnTo>
                <a:close/>
                <a:moveTo>
                  <a:pt x="2638447" y="505119"/>
                </a:moveTo>
                <a:cubicBezTo>
                  <a:pt x="2611624" y="505119"/>
                  <a:pt x="2590026" y="529198"/>
                  <a:pt x="2573653" y="577357"/>
                </a:cubicBezTo>
                <a:lnTo>
                  <a:pt x="2544449" y="663310"/>
                </a:lnTo>
                <a:lnTo>
                  <a:pt x="2620344" y="663310"/>
                </a:lnTo>
                <a:lnTo>
                  <a:pt x="2649548" y="577357"/>
                </a:lnTo>
                <a:cubicBezTo>
                  <a:pt x="2665921" y="529198"/>
                  <a:pt x="2662221" y="505119"/>
                  <a:pt x="2638447" y="505119"/>
                </a:cubicBezTo>
                <a:close/>
                <a:moveTo>
                  <a:pt x="1814834" y="393562"/>
                </a:moveTo>
                <a:lnTo>
                  <a:pt x="1974854" y="393562"/>
                </a:lnTo>
                <a:lnTo>
                  <a:pt x="1747383" y="1062903"/>
                </a:lnTo>
                <a:lnTo>
                  <a:pt x="1587363" y="1062903"/>
                </a:lnTo>
                <a:close/>
                <a:moveTo>
                  <a:pt x="2680666" y="386247"/>
                </a:moveTo>
                <a:cubicBezTo>
                  <a:pt x="2809292" y="386247"/>
                  <a:pt x="2852164" y="449341"/>
                  <a:pt x="2809282" y="575528"/>
                </a:cubicBezTo>
                <a:lnTo>
                  <a:pt x="2792809" y="623991"/>
                </a:lnTo>
                <a:cubicBezTo>
                  <a:pt x="2776235" y="672759"/>
                  <a:pt x="2762162" y="712383"/>
                  <a:pt x="2750589" y="742863"/>
                </a:cubicBezTo>
                <a:lnTo>
                  <a:pt x="2518331" y="742863"/>
                </a:lnTo>
                <a:lnTo>
                  <a:pt x="2474197" y="872708"/>
                </a:lnTo>
                <a:cubicBezTo>
                  <a:pt x="2466330" y="895873"/>
                  <a:pt x="2462605" y="914008"/>
                  <a:pt x="2463025" y="927115"/>
                </a:cubicBezTo>
                <a:cubicBezTo>
                  <a:pt x="2463444" y="940221"/>
                  <a:pt x="2471578" y="946774"/>
                  <a:pt x="2487428" y="946774"/>
                </a:cubicBezTo>
                <a:cubicBezTo>
                  <a:pt x="2499620" y="946774"/>
                  <a:pt x="2509549" y="943117"/>
                  <a:pt x="2517217" y="935802"/>
                </a:cubicBezTo>
                <a:cubicBezTo>
                  <a:pt x="2524885" y="928486"/>
                  <a:pt x="2530783" y="920104"/>
                  <a:pt x="2534912" y="910656"/>
                </a:cubicBezTo>
                <a:cubicBezTo>
                  <a:pt x="2539041" y="901207"/>
                  <a:pt x="2544211" y="887338"/>
                  <a:pt x="2550421" y="869050"/>
                </a:cubicBezTo>
                <a:lnTo>
                  <a:pt x="2572481" y="804128"/>
                </a:lnTo>
                <a:lnTo>
                  <a:pt x="2731587" y="804128"/>
                </a:lnTo>
                <a:lnTo>
                  <a:pt x="2718542" y="842533"/>
                </a:lnTo>
                <a:cubicBezTo>
                  <a:pt x="2692025" y="920562"/>
                  <a:pt x="2657411" y="978016"/>
                  <a:pt x="2614701" y="1014897"/>
                </a:cubicBezTo>
                <a:cubicBezTo>
                  <a:pt x="2571991" y="1051778"/>
                  <a:pt x="2513755" y="1070218"/>
                  <a:pt x="2439993" y="1070218"/>
                </a:cubicBezTo>
                <a:cubicBezTo>
                  <a:pt x="2371108" y="1070218"/>
                  <a:pt x="2328153" y="1051321"/>
                  <a:pt x="2311127" y="1013526"/>
                </a:cubicBezTo>
                <a:cubicBezTo>
                  <a:pt x="2294101" y="975730"/>
                  <a:pt x="2298328" y="919342"/>
                  <a:pt x="2323807" y="844362"/>
                </a:cubicBezTo>
                <a:lnTo>
                  <a:pt x="2415176" y="575528"/>
                </a:lnTo>
                <a:cubicBezTo>
                  <a:pt x="2436102" y="513958"/>
                  <a:pt x="2469733" y="467019"/>
                  <a:pt x="2516067" y="434710"/>
                </a:cubicBezTo>
                <a:cubicBezTo>
                  <a:pt x="2562401" y="402402"/>
                  <a:pt x="2617268" y="386247"/>
                  <a:pt x="2680666" y="386247"/>
                </a:cubicBezTo>
                <a:close/>
                <a:moveTo>
                  <a:pt x="2236649" y="386247"/>
                </a:moveTo>
                <a:cubicBezTo>
                  <a:pt x="2293951" y="386247"/>
                  <a:pt x="2335511" y="401182"/>
                  <a:pt x="2361329" y="431053"/>
                </a:cubicBezTo>
                <a:cubicBezTo>
                  <a:pt x="2387146" y="460923"/>
                  <a:pt x="2390939" y="502681"/>
                  <a:pt x="2372708" y="556326"/>
                </a:cubicBezTo>
                <a:lnTo>
                  <a:pt x="2337904" y="658738"/>
                </a:lnTo>
                <a:lnTo>
                  <a:pt x="2175141" y="658738"/>
                </a:lnTo>
                <a:lnTo>
                  <a:pt x="2207145" y="564555"/>
                </a:lnTo>
                <a:cubicBezTo>
                  <a:pt x="2213155" y="546877"/>
                  <a:pt x="2215327" y="533313"/>
                  <a:pt x="2213660" y="523864"/>
                </a:cubicBezTo>
                <a:cubicBezTo>
                  <a:pt x="2211993" y="514416"/>
                  <a:pt x="2204149" y="509691"/>
                  <a:pt x="2190129" y="509691"/>
                </a:cubicBezTo>
                <a:cubicBezTo>
                  <a:pt x="2163916" y="509691"/>
                  <a:pt x="2144490" y="528284"/>
                  <a:pt x="2131850" y="565470"/>
                </a:cubicBezTo>
                <a:lnTo>
                  <a:pt x="2021536" y="890082"/>
                </a:lnTo>
                <a:cubicBezTo>
                  <a:pt x="2016354" y="905322"/>
                  <a:pt x="2015152" y="918276"/>
                  <a:pt x="2017928" y="928944"/>
                </a:cubicBezTo>
                <a:cubicBezTo>
                  <a:pt x="2020705" y="939612"/>
                  <a:pt x="2028494" y="944946"/>
                  <a:pt x="2041296" y="944946"/>
                </a:cubicBezTo>
                <a:cubicBezTo>
                  <a:pt x="2054097" y="944946"/>
                  <a:pt x="2065458" y="939764"/>
                  <a:pt x="2075379" y="929401"/>
                </a:cubicBezTo>
                <a:cubicBezTo>
                  <a:pt x="2085299" y="919038"/>
                  <a:pt x="2092754" y="905626"/>
                  <a:pt x="2097746" y="889167"/>
                </a:cubicBezTo>
                <a:lnTo>
                  <a:pt x="2135050" y="776696"/>
                </a:lnTo>
                <a:lnTo>
                  <a:pt x="2297813" y="776696"/>
                </a:lnTo>
                <a:lnTo>
                  <a:pt x="2258037" y="893739"/>
                </a:lnTo>
                <a:cubicBezTo>
                  <a:pt x="2239387" y="948603"/>
                  <a:pt x="2206897" y="991732"/>
                  <a:pt x="2160568" y="1023127"/>
                </a:cubicBezTo>
                <a:cubicBezTo>
                  <a:pt x="2114238" y="1054521"/>
                  <a:pt x="2062727" y="1070218"/>
                  <a:pt x="2006034" y="1070218"/>
                </a:cubicBezTo>
                <a:cubicBezTo>
                  <a:pt x="1932882" y="1070218"/>
                  <a:pt x="1886472" y="1051626"/>
                  <a:pt x="1866802" y="1014440"/>
                </a:cubicBezTo>
                <a:cubicBezTo>
                  <a:pt x="1847133" y="977254"/>
                  <a:pt x="1850348" y="920257"/>
                  <a:pt x="1876447" y="843447"/>
                </a:cubicBezTo>
                <a:lnTo>
                  <a:pt x="1946684" y="636793"/>
                </a:lnTo>
                <a:cubicBezTo>
                  <a:pt x="1966363" y="578881"/>
                  <a:pt x="1988613" y="531789"/>
                  <a:pt x="2013435" y="495518"/>
                </a:cubicBezTo>
                <a:cubicBezTo>
                  <a:pt x="2038257" y="459247"/>
                  <a:pt x="2068559" y="431967"/>
                  <a:pt x="2104339" y="413679"/>
                </a:cubicBezTo>
                <a:cubicBezTo>
                  <a:pt x="2140120" y="395391"/>
                  <a:pt x="2184223" y="386247"/>
                  <a:pt x="2236649" y="386247"/>
                </a:cubicBezTo>
                <a:close/>
                <a:moveTo>
                  <a:pt x="1867969" y="237200"/>
                </a:moveTo>
                <a:lnTo>
                  <a:pt x="2027989" y="237200"/>
                </a:lnTo>
                <a:lnTo>
                  <a:pt x="1990085" y="348757"/>
                </a:lnTo>
                <a:lnTo>
                  <a:pt x="1830065" y="348757"/>
                </a:lnTo>
                <a:close/>
                <a:moveTo>
                  <a:pt x="622260" y="116128"/>
                </a:moveTo>
                <a:lnTo>
                  <a:pt x="783195" y="116128"/>
                </a:lnTo>
                <a:lnTo>
                  <a:pt x="624718" y="582472"/>
                </a:lnTo>
                <a:cubicBezTo>
                  <a:pt x="623261" y="586740"/>
                  <a:pt x="619374" y="598170"/>
                  <a:pt x="613059" y="616762"/>
                </a:cubicBezTo>
                <a:cubicBezTo>
                  <a:pt x="606744" y="635355"/>
                  <a:pt x="605187" y="648462"/>
                  <a:pt x="608387" y="656082"/>
                </a:cubicBezTo>
                <a:cubicBezTo>
                  <a:pt x="611588" y="663702"/>
                  <a:pt x="619284" y="667512"/>
                  <a:pt x="631476" y="667512"/>
                </a:cubicBezTo>
                <a:cubicBezTo>
                  <a:pt x="647935" y="667512"/>
                  <a:pt x="660630" y="660654"/>
                  <a:pt x="669559" y="646938"/>
                </a:cubicBezTo>
                <a:cubicBezTo>
                  <a:pt x="678489" y="633222"/>
                  <a:pt x="687302" y="613562"/>
                  <a:pt x="695998" y="587959"/>
                </a:cubicBezTo>
                <a:lnTo>
                  <a:pt x="697870" y="582472"/>
                </a:lnTo>
                <a:lnTo>
                  <a:pt x="857261" y="116128"/>
                </a:lnTo>
                <a:lnTo>
                  <a:pt x="1016367" y="116128"/>
                </a:lnTo>
                <a:lnTo>
                  <a:pt x="788896" y="785469"/>
                </a:lnTo>
                <a:lnTo>
                  <a:pt x="628876" y="785469"/>
                </a:lnTo>
                <a:lnTo>
                  <a:pt x="653122" y="714146"/>
                </a:lnTo>
                <a:cubicBezTo>
                  <a:pt x="632614" y="742188"/>
                  <a:pt x="612974" y="762304"/>
                  <a:pt x="594200" y="774496"/>
                </a:cubicBezTo>
                <a:cubicBezTo>
                  <a:pt x="575426" y="786688"/>
                  <a:pt x="551714" y="792784"/>
                  <a:pt x="523062" y="792784"/>
                </a:cubicBezTo>
                <a:cubicBezTo>
                  <a:pt x="473075" y="792784"/>
                  <a:pt x="443862" y="777849"/>
                  <a:pt x="435423" y="747979"/>
                </a:cubicBezTo>
                <a:cubicBezTo>
                  <a:pt x="426984" y="718108"/>
                  <a:pt x="432808" y="673608"/>
                  <a:pt x="452896" y="614476"/>
                </a:cubicBezTo>
                <a:close/>
                <a:moveTo>
                  <a:pt x="1270313" y="108813"/>
                </a:moveTo>
                <a:cubicBezTo>
                  <a:pt x="1400158" y="108813"/>
                  <a:pt x="1443120" y="173431"/>
                  <a:pt x="1399201" y="302666"/>
                </a:cubicBezTo>
                <a:lnTo>
                  <a:pt x="1394857" y="315468"/>
                </a:lnTo>
                <a:lnTo>
                  <a:pt x="1229351" y="315468"/>
                </a:lnTo>
                <a:lnTo>
                  <a:pt x="1238052" y="289864"/>
                </a:lnTo>
                <a:cubicBezTo>
                  <a:pt x="1243433" y="274015"/>
                  <a:pt x="1245450" y="260451"/>
                  <a:pt x="1244103" y="249174"/>
                </a:cubicBezTo>
                <a:cubicBezTo>
                  <a:pt x="1242755" y="237896"/>
                  <a:pt x="1235985" y="232257"/>
                  <a:pt x="1223793" y="232257"/>
                </a:cubicBezTo>
                <a:cubicBezTo>
                  <a:pt x="1212820" y="232257"/>
                  <a:pt x="1203350" y="235458"/>
                  <a:pt x="1195382" y="241858"/>
                </a:cubicBezTo>
                <a:cubicBezTo>
                  <a:pt x="1187415" y="248259"/>
                  <a:pt x="1181569" y="256946"/>
                  <a:pt x="1177844" y="267919"/>
                </a:cubicBezTo>
                <a:cubicBezTo>
                  <a:pt x="1169558" y="292303"/>
                  <a:pt x="1172582" y="311200"/>
                  <a:pt x="1186917" y="324612"/>
                </a:cubicBezTo>
                <a:lnTo>
                  <a:pt x="1261126" y="396849"/>
                </a:lnTo>
                <a:cubicBezTo>
                  <a:pt x="1287577" y="423062"/>
                  <a:pt x="1305020" y="451561"/>
                  <a:pt x="1313454" y="482346"/>
                </a:cubicBezTo>
                <a:cubicBezTo>
                  <a:pt x="1321888" y="513130"/>
                  <a:pt x="1318129" y="551992"/>
                  <a:pt x="1302174" y="598932"/>
                </a:cubicBezTo>
                <a:cubicBezTo>
                  <a:pt x="1281048" y="661111"/>
                  <a:pt x="1247108" y="708964"/>
                  <a:pt x="1200354" y="742492"/>
                </a:cubicBezTo>
                <a:cubicBezTo>
                  <a:pt x="1153601" y="776020"/>
                  <a:pt x="1098525" y="792784"/>
                  <a:pt x="1035126" y="792784"/>
                </a:cubicBezTo>
                <a:cubicBezTo>
                  <a:pt x="902843" y="792784"/>
                  <a:pt x="859490" y="725728"/>
                  <a:pt x="905067" y="591616"/>
                </a:cubicBezTo>
                <a:lnTo>
                  <a:pt x="924013" y="538581"/>
                </a:lnTo>
                <a:lnTo>
                  <a:pt x="1084033" y="538581"/>
                </a:lnTo>
                <a:lnTo>
                  <a:pt x="1058215" y="617220"/>
                </a:lnTo>
                <a:cubicBezTo>
                  <a:pt x="1052833" y="633069"/>
                  <a:pt x="1051790" y="645109"/>
                  <a:pt x="1055086" y="653338"/>
                </a:cubicBezTo>
                <a:cubicBezTo>
                  <a:pt x="1058382" y="661568"/>
                  <a:pt x="1067040" y="665683"/>
                  <a:pt x="1081061" y="665683"/>
                </a:cubicBezTo>
                <a:cubicBezTo>
                  <a:pt x="1102397" y="665683"/>
                  <a:pt x="1118970" y="648309"/>
                  <a:pt x="1130781" y="613562"/>
                </a:cubicBezTo>
                <a:cubicBezTo>
                  <a:pt x="1139487" y="587959"/>
                  <a:pt x="1141297" y="567842"/>
                  <a:pt x="1136210" y="553212"/>
                </a:cubicBezTo>
                <a:cubicBezTo>
                  <a:pt x="1131124" y="538581"/>
                  <a:pt x="1120404" y="523036"/>
                  <a:pt x="1104049" y="506577"/>
                </a:cubicBezTo>
                <a:lnTo>
                  <a:pt x="1041384" y="440740"/>
                </a:lnTo>
                <a:cubicBezTo>
                  <a:pt x="1019791" y="418185"/>
                  <a:pt x="1006685" y="394868"/>
                  <a:pt x="1002065" y="370789"/>
                </a:cubicBezTo>
                <a:cubicBezTo>
                  <a:pt x="997445" y="346710"/>
                  <a:pt x="1002594" y="312724"/>
                  <a:pt x="1017510" y="268833"/>
                </a:cubicBezTo>
                <a:cubicBezTo>
                  <a:pt x="1029111" y="234696"/>
                  <a:pt x="1047995" y="205587"/>
                  <a:pt x="1074160" y="181508"/>
                </a:cubicBezTo>
                <a:cubicBezTo>
                  <a:pt x="1100325" y="157429"/>
                  <a:pt x="1130415" y="139293"/>
                  <a:pt x="1164428" y="127101"/>
                </a:cubicBezTo>
                <a:cubicBezTo>
                  <a:pt x="1198442" y="114909"/>
                  <a:pt x="1233737" y="108813"/>
                  <a:pt x="1270313" y="108813"/>
                </a:cubicBezTo>
                <a:close/>
                <a:moveTo>
                  <a:pt x="1586333" y="0"/>
                </a:moveTo>
                <a:lnTo>
                  <a:pt x="1741782" y="0"/>
                </a:lnTo>
                <a:lnTo>
                  <a:pt x="1693618" y="141732"/>
                </a:lnTo>
                <a:lnTo>
                  <a:pt x="1739338" y="141732"/>
                </a:lnTo>
                <a:lnTo>
                  <a:pt x="1698005" y="263347"/>
                </a:lnTo>
                <a:lnTo>
                  <a:pt x="1652285" y="263347"/>
                </a:lnTo>
                <a:lnTo>
                  <a:pt x="1524569" y="639165"/>
                </a:lnTo>
                <a:cubicBezTo>
                  <a:pt x="1520635" y="650748"/>
                  <a:pt x="1518649" y="659282"/>
                  <a:pt x="1518611" y="664768"/>
                </a:cubicBezTo>
                <a:cubicBezTo>
                  <a:pt x="1518573" y="670255"/>
                  <a:pt x="1522516" y="672998"/>
                  <a:pt x="1530441" y="672998"/>
                </a:cubicBezTo>
                <a:cubicBezTo>
                  <a:pt x="1536537" y="672998"/>
                  <a:pt x="1542433" y="672693"/>
                  <a:pt x="1548129" y="672084"/>
                </a:cubicBezTo>
                <a:cubicBezTo>
                  <a:pt x="1553825" y="671474"/>
                  <a:pt x="1557587" y="671169"/>
                  <a:pt x="1559416" y="671169"/>
                </a:cubicBezTo>
                <a:lnTo>
                  <a:pt x="1522125" y="780897"/>
                </a:lnTo>
                <a:cubicBezTo>
                  <a:pt x="1512153" y="783336"/>
                  <a:pt x="1498013" y="785926"/>
                  <a:pt x="1479706" y="788670"/>
                </a:cubicBezTo>
                <a:cubicBezTo>
                  <a:pt x="1461399" y="791413"/>
                  <a:pt x="1444016" y="792784"/>
                  <a:pt x="1427557" y="792784"/>
                </a:cubicBezTo>
                <a:cubicBezTo>
                  <a:pt x="1385494" y="792784"/>
                  <a:pt x="1359543" y="783945"/>
                  <a:pt x="1349704" y="766267"/>
                </a:cubicBezTo>
                <a:cubicBezTo>
                  <a:pt x="1339865" y="748588"/>
                  <a:pt x="1341574" y="720242"/>
                  <a:pt x="1354833" y="681228"/>
                </a:cubicBezTo>
                <a:lnTo>
                  <a:pt x="1496837" y="263347"/>
                </a:lnTo>
                <a:lnTo>
                  <a:pt x="1452031" y="263347"/>
                </a:lnTo>
                <a:lnTo>
                  <a:pt x="1493365" y="141732"/>
                </a:lnTo>
                <a:lnTo>
                  <a:pt x="1538170" y="141732"/>
                </a:lnTo>
                <a:close/>
                <a:moveTo>
                  <a:pt x="445238" y="0"/>
                </a:moveTo>
                <a:lnTo>
                  <a:pt x="603430" y="0"/>
                </a:lnTo>
                <a:lnTo>
                  <a:pt x="403305" y="588873"/>
                </a:lnTo>
                <a:cubicBezTo>
                  <a:pt x="389427" y="629716"/>
                  <a:pt x="369179" y="665530"/>
                  <a:pt x="342561" y="696315"/>
                </a:cubicBezTo>
                <a:cubicBezTo>
                  <a:pt x="315944" y="727100"/>
                  <a:pt x="285309" y="750874"/>
                  <a:pt x="250657" y="767638"/>
                </a:cubicBezTo>
                <a:cubicBezTo>
                  <a:pt x="216005" y="784402"/>
                  <a:pt x="180086" y="792784"/>
                  <a:pt x="142901" y="792784"/>
                </a:cubicBezTo>
                <a:cubicBezTo>
                  <a:pt x="106934" y="792784"/>
                  <a:pt x="76704" y="785774"/>
                  <a:pt x="52211" y="771753"/>
                </a:cubicBezTo>
                <a:cubicBezTo>
                  <a:pt x="27717" y="757732"/>
                  <a:pt x="11696" y="737158"/>
                  <a:pt x="4148" y="710031"/>
                </a:cubicBezTo>
                <a:cubicBezTo>
                  <a:pt x="-3401" y="682904"/>
                  <a:pt x="-646" y="650138"/>
                  <a:pt x="12413" y="611733"/>
                </a:cubicBezTo>
                <a:lnTo>
                  <a:pt x="79221" y="415137"/>
                </a:lnTo>
                <a:lnTo>
                  <a:pt x="233755" y="415137"/>
                </a:lnTo>
                <a:lnTo>
                  <a:pt x="170047" y="602589"/>
                </a:lnTo>
                <a:cubicBezTo>
                  <a:pt x="165284" y="616610"/>
                  <a:pt x="164401" y="627735"/>
                  <a:pt x="167397" y="635965"/>
                </a:cubicBezTo>
                <a:cubicBezTo>
                  <a:pt x="170392" y="644194"/>
                  <a:pt x="177986" y="648309"/>
                  <a:pt x="190178" y="648309"/>
                </a:cubicBezTo>
                <a:cubicBezTo>
                  <a:pt x="201760" y="648309"/>
                  <a:pt x="211740" y="644499"/>
                  <a:pt x="220117" y="636879"/>
                </a:cubicBezTo>
                <a:cubicBezTo>
                  <a:pt x="228495" y="629259"/>
                  <a:pt x="235069" y="618439"/>
                  <a:pt x="239841" y="604418"/>
                </a:cubicBezTo>
                <a:close/>
              </a:path>
            </a:pathLst>
          </a:custGeom>
          <a:solidFill>
            <a:schemeClr val="bg1">
              <a:lumMod val="95000"/>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id-ID" sz="7200" i="1" dirty="0">
              <a:solidFill>
                <a:schemeClr val="bg1">
                  <a:lumMod val="95000"/>
                  <a:alpha val="50000"/>
                </a:schemeClr>
              </a:solidFill>
              <a:latin typeface="Anton" panose="00000500000000000000" pitchFamily="2" charset="0"/>
            </a:endParaRPr>
          </a:p>
        </p:txBody>
      </p:sp>
      <p:grpSp>
        <p:nvGrpSpPr>
          <p:cNvPr id="12" name="Group 11">
            <a:extLst>
              <a:ext uri="{FF2B5EF4-FFF2-40B4-BE49-F238E27FC236}">
                <a16:creationId xmlns:a16="http://schemas.microsoft.com/office/drawing/2014/main" id="{94828247-4807-4C3C-8DAB-6518F28D0E41}"/>
              </a:ext>
            </a:extLst>
          </p:cNvPr>
          <p:cNvGrpSpPr/>
          <p:nvPr userDrawn="1"/>
        </p:nvGrpSpPr>
        <p:grpSpPr>
          <a:xfrm>
            <a:off x="408587" y="6394749"/>
            <a:ext cx="2268454" cy="261610"/>
            <a:chOff x="242614" y="6328854"/>
            <a:chExt cx="2268454" cy="261610"/>
          </a:xfrm>
        </p:grpSpPr>
        <p:sp>
          <p:nvSpPr>
            <p:cNvPr id="13" name="Freeform 62">
              <a:extLst>
                <a:ext uri="{FF2B5EF4-FFF2-40B4-BE49-F238E27FC236}">
                  <a16:creationId xmlns:a16="http://schemas.microsoft.com/office/drawing/2014/main" id="{86EE4A51-7BC7-4F0F-81F8-98EB4C521AE1}"/>
                </a:ext>
              </a:extLst>
            </p:cNvPr>
            <p:cNvSpPr>
              <a:spLocks noEditPoints="1"/>
            </p:cNvSpPr>
            <p:nvPr/>
          </p:nvSpPr>
          <p:spPr bwMode="auto">
            <a:xfrm>
              <a:off x="242614" y="6399940"/>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b="0" dirty="0">
                <a:solidFill>
                  <a:schemeClr val="bg1">
                    <a:lumMod val="75000"/>
                  </a:schemeClr>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EFE01ACC-FDAD-4B27-809A-8D04404B1228}"/>
                </a:ext>
              </a:extLst>
            </p:cNvPr>
            <p:cNvSpPr txBox="1"/>
            <p:nvPr/>
          </p:nvSpPr>
          <p:spPr>
            <a:xfrm>
              <a:off x="316236" y="6328854"/>
              <a:ext cx="2194832" cy="261610"/>
            </a:xfrm>
            <a:prstGeom prst="rect">
              <a:avLst/>
            </a:prstGeom>
            <a:noFill/>
          </p:spPr>
          <p:txBody>
            <a:bodyPr wrap="none" rtlCol="0">
              <a:spAutoFit/>
            </a:bodyPr>
            <a:lstStyle/>
            <a:p>
              <a:r>
                <a:rPr lang="en-US" sz="1100" b="0" dirty="0">
                  <a:solidFill>
                    <a:schemeClr val="bg1">
                      <a:lumMod val="75000"/>
                    </a:schemeClr>
                  </a:solidFill>
                  <a:latin typeface="Segoe UI" panose="020B0502040204020203" pitchFamily="34" charset="0"/>
                  <a:cs typeface="Segoe UI" panose="020B0502040204020203" pitchFamily="34" charset="0"/>
                </a:rPr>
                <a:t>201</a:t>
              </a:r>
              <a:r>
                <a:rPr lang="id-ID" sz="1100" dirty="0">
                  <a:solidFill>
                    <a:schemeClr val="bg1">
                      <a:lumMod val="75000"/>
                    </a:schemeClr>
                  </a:solidFill>
                  <a:latin typeface="Segoe UI" panose="020B0502040204020203" pitchFamily="34" charset="0"/>
                  <a:cs typeface="Segoe UI" panose="020B0502040204020203" pitchFamily="34" charset="0"/>
                </a:rPr>
                <a:t>8</a:t>
              </a:r>
              <a:r>
                <a:rPr lang="id-ID" sz="1100" b="0" dirty="0">
                  <a:solidFill>
                    <a:schemeClr val="bg1">
                      <a:lumMod val="75000"/>
                    </a:schemeClr>
                  </a:solidFill>
                  <a:latin typeface="Segoe UI" panose="020B0502040204020203" pitchFamily="34" charset="0"/>
                  <a:cs typeface="Segoe UI" panose="020B0502040204020203" pitchFamily="34" charset="0"/>
                </a:rPr>
                <a:t> Justice</a:t>
              </a:r>
              <a:r>
                <a:rPr lang="en-US" sz="1100" b="0" dirty="0">
                  <a:solidFill>
                    <a:schemeClr val="bg1">
                      <a:lumMod val="75000"/>
                    </a:schemeClr>
                  </a:solidFill>
                  <a:latin typeface="Segoe UI" panose="020B0502040204020203" pitchFamily="34" charset="0"/>
                  <a:cs typeface="Segoe UI" panose="020B0502040204020203" pitchFamily="34" charset="0"/>
                </a:rPr>
                <a:t>.</a:t>
              </a:r>
              <a:r>
                <a:rPr lang="id-ID" sz="1100" b="0" dirty="0">
                  <a:solidFill>
                    <a:schemeClr val="bg1">
                      <a:lumMod val="75000"/>
                    </a:schemeClr>
                  </a:solidFill>
                  <a:latin typeface="Segoe UI" panose="020B0502040204020203" pitchFamily="34" charset="0"/>
                  <a:cs typeface="Segoe UI" panose="020B0502040204020203" pitchFamily="34" charset="0"/>
                </a:rPr>
                <a:t> </a:t>
              </a:r>
              <a:r>
                <a:rPr lang="en-US" sz="1100" b="0" dirty="0">
                  <a:solidFill>
                    <a:schemeClr val="bg1">
                      <a:lumMod val="75000"/>
                    </a:schemeClr>
                  </a:solidFill>
                  <a:latin typeface="Segoe UI" panose="020B0502040204020203" pitchFamily="34" charset="0"/>
                  <a:cs typeface="Segoe UI" panose="020B0502040204020203" pitchFamily="34" charset="0"/>
                </a:rPr>
                <a:t>All Rights Reserved</a:t>
              </a:r>
              <a:endParaRPr lang="id-ID" sz="1100" b="0" dirty="0">
                <a:solidFill>
                  <a:schemeClr val="bg1">
                    <a:lumMod val="75000"/>
                  </a:schemeClr>
                </a:solidFill>
                <a:latin typeface="Segoe UI" panose="020B0502040204020203" pitchFamily="34" charset="0"/>
                <a:cs typeface="Segoe UI" panose="020B0502040204020203" pitchFamily="34" charset="0"/>
              </a:endParaRPr>
            </a:p>
          </p:txBody>
        </p:sp>
      </p:grpSp>
      <p:sp>
        <p:nvSpPr>
          <p:cNvPr id="15" name="TextBox 14">
            <a:extLst>
              <a:ext uri="{FF2B5EF4-FFF2-40B4-BE49-F238E27FC236}">
                <a16:creationId xmlns:a16="http://schemas.microsoft.com/office/drawing/2014/main" id="{83EDDE3B-91A2-45E2-9144-B06DEA3844D2}"/>
              </a:ext>
            </a:extLst>
          </p:cNvPr>
          <p:cNvSpPr txBox="1"/>
          <p:nvPr userDrawn="1"/>
        </p:nvSpPr>
        <p:spPr>
          <a:xfrm rot="16200000">
            <a:off x="-967865" y="3313584"/>
            <a:ext cx="2643554" cy="230832"/>
          </a:xfrm>
          <a:prstGeom prst="rect">
            <a:avLst/>
          </a:prstGeom>
          <a:noFill/>
        </p:spPr>
        <p:txBody>
          <a:bodyPr wrap="square" rtlCol="0">
            <a:spAutoFit/>
          </a:bodyPr>
          <a:lstStyle/>
          <a:p>
            <a:pPr algn="ctr"/>
            <a:r>
              <a:rPr lang="id-ID" sz="900" strike="noStrike" spc="600" dirty="0">
                <a:solidFill>
                  <a:schemeClr val="bg1">
                    <a:lumMod val="85000"/>
                  </a:schemeClr>
                </a:solidFill>
                <a:latin typeface="Segoe UI" panose="020B0502040204020203" pitchFamily="34" charset="0"/>
                <a:cs typeface="Segoe UI" panose="020B0502040204020203" pitchFamily="34" charset="0"/>
              </a:rPr>
              <a:t>WWW.WEBSITE.COM</a:t>
            </a:r>
          </a:p>
        </p:txBody>
      </p:sp>
      <p:sp>
        <p:nvSpPr>
          <p:cNvPr id="16" name="Diagonal Stripe 15">
            <a:extLst>
              <a:ext uri="{FF2B5EF4-FFF2-40B4-BE49-F238E27FC236}">
                <a16:creationId xmlns:a16="http://schemas.microsoft.com/office/drawing/2014/main" id="{F0CF839A-5F21-44F8-A9F1-FBD736FA4DFA}"/>
              </a:ext>
            </a:extLst>
          </p:cNvPr>
          <p:cNvSpPr/>
          <p:nvPr userDrawn="1"/>
        </p:nvSpPr>
        <p:spPr>
          <a:xfrm>
            <a:off x="7759125" y="0"/>
            <a:ext cx="3982065" cy="3982065"/>
          </a:xfrm>
          <a:prstGeom prst="diagStripe">
            <a:avLst/>
          </a:prstGeom>
          <a:gradFill flip="none" rotWithShape="1">
            <a:gsLst>
              <a:gs pos="6000">
                <a:schemeClr val="bg1">
                  <a:lumMod val="95000"/>
                  <a:alpha val="46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17" name="Diagonal Stripe 16">
            <a:extLst>
              <a:ext uri="{FF2B5EF4-FFF2-40B4-BE49-F238E27FC236}">
                <a16:creationId xmlns:a16="http://schemas.microsoft.com/office/drawing/2014/main" id="{DC1C68DF-EF08-4F22-A088-14CF1B6CE01C}"/>
              </a:ext>
            </a:extLst>
          </p:cNvPr>
          <p:cNvSpPr/>
          <p:nvPr userDrawn="1"/>
        </p:nvSpPr>
        <p:spPr>
          <a:xfrm rot="5400000" flipH="1">
            <a:off x="7086946" y="1797430"/>
            <a:ext cx="3263139" cy="3263139"/>
          </a:xfrm>
          <a:prstGeom prst="diagStripe">
            <a:avLst/>
          </a:prstGeom>
          <a:solidFill>
            <a:schemeClr val="bg1">
              <a:lumMod val="9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Tree>
    <p:extLst>
      <p:ext uri="{BB962C8B-B14F-4D97-AF65-F5344CB8AC3E}">
        <p14:creationId xmlns:p14="http://schemas.microsoft.com/office/powerpoint/2010/main" val="1063262129"/>
      </p:ext>
    </p:extLst>
  </p:cSld>
  <p:clrMap bg1="lt1" tx1="dk1" bg2="lt2" tx2="dk2" accent1="accent1" accent2="accent2" accent3="accent3" accent4="accent4" accent5="accent5" accent6="accent6" hlink="hlink" folHlink="folHlink"/>
  <p:sldLayoutIdLst>
    <p:sldLayoutId id="2147483649" r:id="rId1"/>
    <p:sldLayoutId id="2147483681" r:id="rId2"/>
    <p:sldLayoutId id="2147483671" r:id="rId3"/>
    <p:sldLayoutId id="2147483672" r:id="rId4"/>
    <p:sldLayoutId id="2147483670" r:id="rId5"/>
    <p:sldLayoutId id="2147483669" r:id="rId6"/>
    <p:sldLayoutId id="2147483667" r:id="rId7"/>
    <p:sldLayoutId id="2147483656" r:id="rId8"/>
    <p:sldLayoutId id="2147483696" r:id="rId9"/>
    <p:sldLayoutId id="2147483655" r:id="rId10"/>
    <p:sldLayoutId id="2147483651" r:id="rId11"/>
    <p:sldLayoutId id="2147483673" r:id="rId12"/>
    <p:sldLayoutId id="2147483674" r:id="rId13"/>
    <p:sldLayoutId id="2147483668" r:id="rId14"/>
    <p:sldLayoutId id="2147483662" r:id="rId15"/>
    <p:sldLayoutId id="2147483663" r:id="rId16"/>
    <p:sldLayoutId id="2147483653" r:id="rId17"/>
    <p:sldLayoutId id="2147483654" r:id="rId18"/>
    <p:sldLayoutId id="2147483652" r:id="rId19"/>
    <p:sldLayoutId id="2147483664" r:id="rId20"/>
    <p:sldLayoutId id="2147483676" r:id="rId21"/>
    <p:sldLayoutId id="2147483666" r:id="rId22"/>
    <p:sldLayoutId id="2147483694" r:id="rId23"/>
    <p:sldLayoutId id="2147483679" r:id="rId24"/>
    <p:sldLayoutId id="2147483657" r:id="rId25"/>
    <p:sldLayoutId id="2147483659" r:id="rId26"/>
    <p:sldLayoutId id="2147483658" r:id="rId27"/>
    <p:sldLayoutId id="2147483660" r:id="rId28"/>
    <p:sldLayoutId id="2147483690" r:id="rId29"/>
    <p:sldLayoutId id="2147483693" r:id="rId30"/>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100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83" userDrawn="1">
          <p15:clr>
            <a:srgbClr val="F26B43"/>
          </p15:clr>
        </p15:guide>
        <p15:guide id="2" pos="7174" userDrawn="1">
          <p15:clr>
            <a:srgbClr val="F26B43"/>
          </p15:clr>
        </p15:guide>
        <p15:guide id="3" orient="horz" pos="3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34.png"/><Relationship Id="rId5" Type="http://schemas.openxmlformats.org/officeDocument/2006/relationships/image" Target="../media/image33.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11.png"/><Relationship Id="rId5" Type="http://schemas.openxmlformats.org/officeDocument/2006/relationships/image" Target="../media/image7.jpe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Picture Placeholder 1">
            <a:extLst>
              <a:ext uri="{FF2B5EF4-FFF2-40B4-BE49-F238E27FC236}">
                <a16:creationId xmlns:a16="http://schemas.microsoft.com/office/drawing/2014/main" id="{78C50682-4F1C-462B-9CC4-9D10977ECE4C}"/>
              </a:ext>
            </a:extLst>
          </p:cNvPr>
          <p:cNvPicPr>
            <a:picLocks noChangeAspect="1"/>
          </p:cNvPicPr>
          <p:nvPr/>
        </p:nvPicPr>
        <p:blipFill>
          <a:blip r:embed="rId2"/>
          <a:srcRect t="5360" b="5360"/>
          <a:stretch>
            <a:fillRect/>
          </a:stretch>
        </p:blipFill>
        <p:spPr>
          <a:xfrm>
            <a:off x="335092" y="0"/>
            <a:ext cx="11521819" cy="6858000"/>
          </a:xfrm>
          <a:prstGeom prst="rect">
            <a:avLst/>
          </a:prstGeom>
        </p:spPr>
      </p:pic>
      <p:sp>
        <p:nvSpPr>
          <p:cNvPr id="4" name="TextBox 3">
            <a:extLst>
              <a:ext uri="{FF2B5EF4-FFF2-40B4-BE49-F238E27FC236}">
                <a16:creationId xmlns:a16="http://schemas.microsoft.com/office/drawing/2014/main" id="{87B2F90E-CD6C-4472-B209-9D61373B5C05}"/>
              </a:ext>
            </a:extLst>
          </p:cNvPr>
          <p:cNvSpPr txBox="1"/>
          <p:nvPr/>
        </p:nvSpPr>
        <p:spPr>
          <a:xfrm>
            <a:off x="2474126" y="6086303"/>
            <a:ext cx="7625422" cy="538609"/>
          </a:xfrm>
          <a:prstGeom prst="rect">
            <a:avLst/>
          </a:prstGeom>
          <a:solidFill>
            <a:schemeClr val="bg1"/>
          </a:solidFill>
        </p:spPr>
        <p:txBody>
          <a:bodyPr wrap="square" rtlCol="0">
            <a:spAutoFit/>
          </a:bodyPr>
          <a:lstStyle/>
          <a:p>
            <a:pPr algn="ctr"/>
            <a:r>
              <a:rPr lang="en-US" sz="1200" spc="600" dirty="0">
                <a:solidFill>
                  <a:schemeClr val="tx1">
                    <a:lumMod val="65000"/>
                    <a:lumOff val="35000"/>
                  </a:schemeClr>
                </a:solidFill>
                <a:latin typeface="+mj-lt"/>
              </a:rPr>
              <a:t>Big Data –Fall Quarter 2019</a:t>
            </a:r>
          </a:p>
          <a:p>
            <a:pPr algn="ctr"/>
            <a:endParaRPr lang="en-US" sz="500" spc="600" dirty="0">
              <a:solidFill>
                <a:schemeClr val="tx1">
                  <a:lumMod val="65000"/>
                  <a:lumOff val="35000"/>
                </a:schemeClr>
              </a:solidFill>
              <a:latin typeface="+mj-lt"/>
            </a:endParaRPr>
          </a:p>
          <a:p>
            <a:pPr algn="ctr"/>
            <a:r>
              <a:rPr lang="en-US" sz="1200" spc="600" dirty="0">
                <a:solidFill>
                  <a:schemeClr val="tx1">
                    <a:lumMod val="65000"/>
                    <a:lumOff val="35000"/>
                  </a:schemeClr>
                </a:solidFill>
                <a:latin typeface="+mj-lt"/>
              </a:rPr>
              <a:t>Carrie Lu | Daniela Matinho | Hanna Kerr | Yuling Gu</a:t>
            </a:r>
          </a:p>
        </p:txBody>
      </p:sp>
      <p:sp>
        <p:nvSpPr>
          <p:cNvPr id="7" name="TextBox 6">
            <a:extLst>
              <a:ext uri="{FF2B5EF4-FFF2-40B4-BE49-F238E27FC236}">
                <a16:creationId xmlns:a16="http://schemas.microsoft.com/office/drawing/2014/main" id="{D5D0AE3E-7B2B-475D-ABF5-772A61222FA1}"/>
              </a:ext>
            </a:extLst>
          </p:cNvPr>
          <p:cNvSpPr txBox="1"/>
          <p:nvPr/>
        </p:nvSpPr>
        <p:spPr>
          <a:xfrm>
            <a:off x="1792297" y="2390638"/>
            <a:ext cx="8761591" cy="1061829"/>
          </a:xfrm>
          <a:prstGeom prst="rect">
            <a:avLst/>
          </a:prstGeom>
          <a:solidFill>
            <a:srgbClr val="C00000"/>
          </a:solidFill>
        </p:spPr>
        <p:txBody>
          <a:bodyPr wrap="square" rtlCol="0">
            <a:spAutoFit/>
          </a:bodyPr>
          <a:lstStyle/>
          <a:p>
            <a:r>
              <a:rPr lang="en-US" sz="6300" i="1" dirty="0">
                <a:solidFill>
                  <a:schemeClr val="bg1"/>
                </a:solidFill>
                <a:latin typeface="Anton" panose="00000500000000000000" pitchFamily="2" charset="0"/>
              </a:rPr>
              <a:t> Recommendation System   </a:t>
            </a:r>
            <a:endParaRPr lang="id-ID" sz="6300" i="1" dirty="0">
              <a:solidFill>
                <a:schemeClr val="bg1"/>
              </a:solidFill>
              <a:latin typeface="Anton" panose="00000500000000000000" pitchFamily="2" charset="0"/>
            </a:endParaRPr>
          </a:p>
        </p:txBody>
      </p:sp>
      <p:pic>
        <p:nvPicPr>
          <p:cNvPr id="3" name="Picture 2" descr="A picture containing drawing, shirt&#10;&#10;Description automatically generated">
            <a:extLst>
              <a:ext uri="{FF2B5EF4-FFF2-40B4-BE49-F238E27FC236}">
                <a16:creationId xmlns:a16="http://schemas.microsoft.com/office/drawing/2014/main" id="{F04AA059-30DE-49CA-A42B-ED24FC6BF4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846" y="1021936"/>
            <a:ext cx="3175163" cy="2032104"/>
          </a:xfrm>
          <a:prstGeom prst="rect">
            <a:avLst/>
          </a:prstGeom>
        </p:spPr>
      </p:pic>
    </p:spTree>
    <p:extLst>
      <p:ext uri="{BB962C8B-B14F-4D97-AF65-F5344CB8AC3E}">
        <p14:creationId xmlns:p14="http://schemas.microsoft.com/office/powerpoint/2010/main" val="825660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ppt_x"/>
                                          </p:val>
                                        </p:tav>
                                        <p:tav tm="100000">
                                          <p:val>
                                            <p:strVal val="#ppt_x"/>
                                          </p:val>
                                        </p:tav>
                                      </p:tavLst>
                                    </p:anim>
                                    <p:anim calcmode="lin" valueType="num">
                                      <p:cBhvr additive="base">
                                        <p:cTn id="12" dur="1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DE09615D-24FD-4086-87D4-3BC6FF4383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483095" cy="6858000"/>
          </a:xfrm>
          <a:prstGeom prst="rect">
            <a:avLst/>
          </a:prstGeom>
          <a:gradFill>
            <a:gsLst>
              <a:gs pos="0">
                <a:schemeClr val="accent6"/>
              </a:gs>
              <a:gs pos="25000">
                <a:schemeClr val="accent6"/>
              </a:gs>
              <a:gs pos="94000">
                <a:schemeClr val="accent1"/>
              </a:gs>
              <a:gs pos="100000">
                <a:schemeClr val="accent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a:extLst>
              <a:ext uri="{FF2B5EF4-FFF2-40B4-BE49-F238E27FC236}">
                <a16:creationId xmlns:a16="http://schemas.microsoft.com/office/drawing/2014/main" id="{2CD1987F-8813-4F4A-BE57-BB00FB4F081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65" name="Freeform 67">
            <a:extLst>
              <a:ext uri="{FF2B5EF4-FFF2-40B4-BE49-F238E27FC236}">
                <a16:creationId xmlns:a16="http://schemas.microsoft.com/office/drawing/2014/main" id="{68C00EAE-4816-44D0-8DA9-3F070179BA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53036"/>
            <a:ext cx="3242130" cy="2704964"/>
          </a:xfrm>
          <a:custGeom>
            <a:avLst/>
            <a:gdLst>
              <a:gd name="connsiteX0" fmla="*/ 1465277 w 3242130"/>
              <a:gd name="connsiteY0" fmla="*/ 0 h 2704964"/>
              <a:gd name="connsiteX1" fmla="*/ 3242130 w 3242130"/>
              <a:gd name="connsiteY1" fmla="*/ 1776853 h 2704964"/>
              <a:gd name="connsiteX2" fmla="*/ 3027674 w 3242130"/>
              <a:gd name="connsiteY2" fmla="*/ 2623807 h 2704964"/>
              <a:gd name="connsiteX3" fmla="*/ 2978369 w 3242130"/>
              <a:gd name="connsiteY3" fmla="*/ 2704964 h 2704964"/>
              <a:gd name="connsiteX4" fmla="*/ 0 w 3242130"/>
              <a:gd name="connsiteY4" fmla="*/ 2704964 h 2704964"/>
              <a:gd name="connsiteX5" fmla="*/ 0 w 3242130"/>
              <a:gd name="connsiteY5" fmla="*/ 772542 h 2704964"/>
              <a:gd name="connsiteX6" fmla="*/ 94171 w 3242130"/>
              <a:gd name="connsiteY6" fmla="*/ 646610 h 2704964"/>
              <a:gd name="connsiteX7" fmla="*/ 1465277 w 3242130"/>
              <a:gd name="connsiteY7" fmla="*/ 0 h 27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2130" h="2704964">
                <a:moveTo>
                  <a:pt x="1465277" y="0"/>
                </a:moveTo>
                <a:cubicBezTo>
                  <a:pt x="2446606" y="0"/>
                  <a:pt x="3242130" y="795524"/>
                  <a:pt x="3242130" y="1776853"/>
                </a:cubicBezTo>
                <a:cubicBezTo>
                  <a:pt x="3242130" y="2083519"/>
                  <a:pt x="3164442" y="2372039"/>
                  <a:pt x="3027674" y="2623807"/>
                </a:cubicBezTo>
                <a:lnTo>
                  <a:pt x="2978369" y="2704964"/>
                </a:lnTo>
                <a:lnTo>
                  <a:pt x="0" y="2704964"/>
                </a:lnTo>
                <a:lnTo>
                  <a:pt x="0" y="772542"/>
                </a:lnTo>
                <a:lnTo>
                  <a:pt x="94171" y="646610"/>
                </a:lnTo>
                <a:cubicBezTo>
                  <a:pt x="420072" y="251709"/>
                  <a:pt x="913280" y="0"/>
                  <a:pt x="1465277" y="0"/>
                </a:cubicBezTo>
                <a:close/>
              </a:path>
            </a:pathLst>
          </a:custGeom>
          <a:solidFill>
            <a:srgbClr val="FFFFFF"/>
          </a:solidFill>
          <a:ln>
            <a:gradFill>
              <a:gsLst>
                <a:gs pos="0">
                  <a:schemeClr val="accent6"/>
                </a:gs>
                <a:gs pos="23000">
                  <a:schemeClr val="accent6"/>
                </a:gs>
                <a:gs pos="8300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7" name="Oval 66">
            <a:extLst>
              <a:ext uri="{FF2B5EF4-FFF2-40B4-BE49-F238E27FC236}">
                <a16:creationId xmlns:a16="http://schemas.microsoft.com/office/drawing/2014/main" id="{D5391212-5277-4C05-9E96-E724C96113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75971" y="2816635"/>
            <a:ext cx="2865340" cy="2865340"/>
          </a:xfrm>
          <a:prstGeom prst="ellipse">
            <a:avLst/>
          </a:prstGeom>
          <a:solidFill>
            <a:srgbClr val="FFFFFF"/>
          </a:solidFill>
          <a:ln>
            <a:gradFill>
              <a:gsLst>
                <a:gs pos="0">
                  <a:schemeClr val="accent6"/>
                </a:gs>
                <a:gs pos="23000">
                  <a:schemeClr val="accent6"/>
                </a:gs>
                <a:gs pos="8300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5">
            <a:extLst>
              <a:ext uri="{FF2B5EF4-FFF2-40B4-BE49-F238E27FC236}">
                <a16:creationId xmlns:a16="http://schemas.microsoft.com/office/drawing/2014/main" id="{0B331F10-0144-4133-AB48-EDEFB35465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4090921" cy="3465906"/>
          </a:xfrm>
          <a:custGeom>
            <a:avLst/>
            <a:gdLst>
              <a:gd name="connsiteX0" fmla="*/ 0 w 4090921"/>
              <a:gd name="connsiteY0" fmla="*/ 0 h 3465906"/>
              <a:gd name="connsiteX1" fmla="*/ 3746474 w 4090921"/>
              <a:gd name="connsiteY1" fmla="*/ 0 h 3465906"/>
              <a:gd name="connsiteX2" fmla="*/ 3817144 w 4090921"/>
              <a:gd name="connsiteY2" fmla="*/ 116327 h 3465906"/>
              <a:gd name="connsiteX3" fmla="*/ 4090921 w 4090921"/>
              <a:gd name="connsiteY3" fmla="*/ 1197557 h 3465906"/>
              <a:gd name="connsiteX4" fmla="*/ 1822572 w 4090921"/>
              <a:gd name="connsiteY4" fmla="*/ 3465906 h 3465906"/>
              <a:gd name="connsiteX5" fmla="*/ 72204 w 4090921"/>
              <a:gd name="connsiteY5" fmla="*/ 2640438 h 3465906"/>
              <a:gd name="connsiteX6" fmla="*/ 0 w 4090921"/>
              <a:gd name="connsiteY6" fmla="*/ 2543882 h 346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0921" h="3465906">
                <a:moveTo>
                  <a:pt x="0" y="0"/>
                </a:moveTo>
                <a:lnTo>
                  <a:pt x="3746474" y="0"/>
                </a:lnTo>
                <a:lnTo>
                  <a:pt x="3817144" y="116327"/>
                </a:lnTo>
                <a:cubicBezTo>
                  <a:pt x="3991744" y="437737"/>
                  <a:pt x="4090921" y="806065"/>
                  <a:pt x="4090921" y="1197557"/>
                </a:cubicBezTo>
                <a:cubicBezTo>
                  <a:pt x="4090921" y="2450332"/>
                  <a:pt x="3075348" y="3465906"/>
                  <a:pt x="1822572" y="3465906"/>
                </a:cubicBezTo>
                <a:cubicBezTo>
                  <a:pt x="1117886" y="3465906"/>
                  <a:pt x="488252" y="3144572"/>
                  <a:pt x="72204" y="2640438"/>
                </a:cubicBezTo>
                <a:lnTo>
                  <a:pt x="0" y="2543882"/>
                </a:lnTo>
                <a:close/>
              </a:path>
            </a:pathLst>
          </a:custGeom>
          <a:solidFill>
            <a:srgbClr val="FFFFFF"/>
          </a:solidFill>
          <a:ln>
            <a:gradFill>
              <a:gsLst>
                <a:gs pos="0">
                  <a:schemeClr val="accent6"/>
                </a:gs>
                <a:gs pos="23000">
                  <a:schemeClr val="accent6"/>
                </a:gs>
                <a:gs pos="8300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Placeholder 8" descr="A wooden table&#10;&#10;Description automatically generated">
            <a:extLst>
              <a:ext uri="{FF2B5EF4-FFF2-40B4-BE49-F238E27FC236}">
                <a16:creationId xmlns:a16="http://schemas.microsoft.com/office/drawing/2014/main" id="{7431924E-BB05-4DED-9183-6D454C9FCFB3}"/>
              </a:ext>
            </a:extLst>
          </p:cNvPr>
          <p:cNvPicPr>
            <a:picLocks noGrp="1" noChangeAspect="1"/>
          </p:cNvPicPr>
          <p:nvPr>
            <p:ph type="pic" sz="quarter" idx="12"/>
          </p:nvPr>
        </p:nvPicPr>
        <p:blipFill rotWithShape="1">
          <a:blip r:embed="rId4">
            <a:alphaModFix/>
            <a:extLst>
              <a:ext uri="{28A0092B-C50C-407E-A947-70E740481C1C}">
                <a14:useLocalDpi xmlns:a14="http://schemas.microsoft.com/office/drawing/2010/main" val="0"/>
              </a:ext>
            </a:extLst>
          </a:blip>
          <a:srcRect l="5044" r="15630" b="-3"/>
          <a:stretch/>
        </p:blipFill>
        <p:spPr>
          <a:xfrm>
            <a:off x="1" y="-1"/>
            <a:ext cx="3943111" cy="3318096"/>
          </a:xfrm>
          <a:custGeom>
            <a:avLst/>
            <a:gdLst>
              <a:gd name="connsiteX0" fmla="*/ 73119 w 3943111"/>
              <a:gd name="connsiteY0" fmla="*/ 0 h 3318096"/>
              <a:gd name="connsiteX1" fmla="*/ 3572026 w 3943111"/>
              <a:gd name="connsiteY1" fmla="*/ 0 h 3318096"/>
              <a:gd name="connsiteX2" fmla="*/ 3580957 w 3943111"/>
              <a:gd name="connsiteY2" fmla="*/ 11944 h 3318096"/>
              <a:gd name="connsiteX3" fmla="*/ 3943111 w 3943111"/>
              <a:gd name="connsiteY3" fmla="*/ 1197557 h 3318096"/>
              <a:gd name="connsiteX4" fmla="*/ 1822572 w 3943111"/>
              <a:gd name="connsiteY4" fmla="*/ 3318096 h 3318096"/>
              <a:gd name="connsiteX5" fmla="*/ 64188 w 3943111"/>
              <a:gd name="connsiteY5" fmla="*/ 2383171 h 3318096"/>
              <a:gd name="connsiteX6" fmla="*/ 0 w 3943111"/>
              <a:gd name="connsiteY6" fmla="*/ 2277515 h 3318096"/>
              <a:gd name="connsiteX7" fmla="*/ 0 w 3943111"/>
              <a:gd name="connsiteY7" fmla="*/ 117600 h 3318096"/>
              <a:gd name="connsiteX8" fmla="*/ 64188 w 3943111"/>
              <a:gd name="connsiteY8" fmla="*/ 11944 h 331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3111" h="3318096">
                <a:moveTo>
                  <a:pt x="73119" y="0"/>
                </a:moveTo>
                <a:lnTo>
                  <a:pt x="3572026" y="0"/>
                </a:lnTo>
                <a:lnTo>
                  <a:pt x="3580957" y="11944"/>
                </a:lnTo>
                <a:cubicBezTo>
                  <a:pt x="3809602" y="350384"/>
                  <a:pt x="3943111" y="758379"/>
                  <a:pt x="3943111" y="1197557"/>
                </a:cubicBezTo>
                <a:cubicBezTo>
                  <a:pt x="3943111" y="2368699"/>
                  <a:pt x="2993714" y="3318096"/>
                  <a:pt x="1822572" y="3318096"/>
                </a:cubicBezTo>
                <a:cubicBezTo>
                  <a:pt x="1090609" y="3318096"/>
                  <a:pt x="445264" y="2947238"/>
                  <a:pt x="64188" y="2383171"/>
                </a:cubicBezTo>
                <a:lnTo>
                  <a:pt x="0" y="2277515"/>
                </a:lnTo>
                <a:lnTo>
                  <a:pt x="0" y="117600"/>
                </a:lnTo>
                <a:lnTo>
                  <a:pt x="64188" y="11944"/>
                </a:lnTo>
                <a:close/>
              </a:path>
            </a:pathLst>
          </a:custGeom>
          <a:ln cmpd="dbl">
            <a:gradFill>
              <a:gsLst>
                <a:gs pos="0">
                  <a:srgbClr val="C00000"/>
                </a:gs>
                <a:gs pos="74000">
                  <a:srgbClr val="C00000"/>
                </a:gs>
              </a:gsLst>
              <a:lin ang="5400000" scaled="1"/>
            </a:gradFill>
          </a:ln>
          <a:effectLst>
            <a:softEdge rad="0"/>
          </a:effectLst>
        </p:spPr>
      </p:pic>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sp>
        <p:nvSpPr>
          <p:cNvPr id="24" name="Title 7">
            <a:extLst>
              <a:ext uri="{FF2B5EF4-FFF2-40B4-BE49-F238E27FC236}">
                <a16:creationId xmlns:a16="http://schemas.microsoft.com/office/drawing/2014/main" id="{94F06D61-D40A-43A4-9678-057EE8D43EAE}"/>
              </a:ext>
            </a:extLst>
          </p:cNvPr>
          <p:cNvSpPr txBox="1">
            <a:spLocks/>
          </p:cNvSpPr>
          <p:nvPr/>
        </p:nvSpPr>
        <p:spPr>
          <a:xfrm>
            <a:off x="5231029" y="557516"/>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Association Mining</a:t>
            </a:r>
            <a:endParaRPr lang="id-ID" sz="4000" spc="0" dirty="0">
              <a:latin typeface="Aller" panose="020B0503030302020204" pitchFamily="34" charset="0"/>
            </a:endParaRPr>
          </a:p>
        </p:txBody>
      </p:sp>
      <p:pic>
        <p:nvPicPr>
          <p:cNvPr id="15" name="Picture 14">
            <a:extLst>
              <a:ext uri="{FF2B5EF4-FFF2-40B4-BE49-F238E27FC236}">
                <a16:creationId xmlns:a16="http://schemas.microsoft.com/office/drawing/2014/main" id="{07BB6C30-AA35-49A7-8B6D-D81797E1A15D}"/>
              </a:ext>
            </a:extLst>
          </p:cNvPr>
          <p:cNvPicPr>
            <a:picLocks noChangeAspect="1"/>
          </p:cNvPicPr>
          <p:nvPr/>
        </p:nvPicPr>
        <p:blipFill>
          <a:blip r:embed="rId5"/>
          <a:stretch>
            <a:fillRect/>
          </a:stretch>
        </p:blipFill>
        <p:spPr>
          <a:xfrm>
            <a:off x="6168274" y="1561672"/>
            <a:ext cx="5895975" cy="2371725"/>
          </a:xfrm>
          <a:prstGeom prst="rect">
            <a:avLst/>
          </a:prstGeom>
        </p:spPr>
      </p:pic>
      <p:sp>
        <p:nvSpPr>
          <p:cNvPr id="41" name="Text Placeholder 2">
            <a:extLst>
              <a:ext uri="{FF2B5EF4-FFF2-40B4-BE49-F238E27FC236}">
                <a16:creationId xmlns:a16="http://schemas.microsoft.com/office/drawing/2014/main" id="{C61E2A49-4EAB-4244-9D3C-AFF10F71DEE5}"/>
              </a:ext>
            </a:extLst>
          </p:cNvPr>
          <p:cNvSpPr txBox="1">
            <a:spLocks/>
          </p:cNvSpPr>
          <p:nvPr/>
        </p:nvSpPr>
        <p:spPr>
          <a:xfrm>
            <a:off x="5188450" y="1295770"/>
            <a:ext cx="2463836"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Association Rules</a:t>
            </a:r>
            <a:endParaRPr lang="id-ID" sz="2400" b="1" dirty="0">
              <a:solidFill>
                <a:schemeClr val="bg1"/>
              </a:solidFill>
              <a:latin typeface="Segoe UI Light" panose="020B0502040204020203" pitchFamily="34" charset="0"/>
              <a:cs typeface="Segoe UI Light" panose="020B0502040204020203" pitchFamily="34" charset="0"/>
            </a:endParaRPr>
          </a:p>
        </p:txBody>
      </p:sp>
      <p:pic>
        <p:nvPicPr>
          <p:cNvPr id="45" name="Picture 44">
            <a:extLst>
              <a:ext uri="{FF2B5EF4-FFF2-40B4-BE49-F238E27FC236}">
                <a16:creationId xmlns:a16="http://schemas.microsoft.com/office/drawing/2014/main" id="{8BC4D3A9-203C-4FCE-99F0-8ECFB42490C5}"/>
              </a:ext>
            </a:extLst>
          </p:cNvPr>
          <p:cNvPicPr>
            <a:picLocks noChangeAspect="1"/>
          </p:cNvPicPr>
          <p:nvPr/>
        </p:nvPicPr>
        <p:blipFill rotWithShape="1">
          <a:blip r:embed="rId6"/>
          <a:srcRect b="32669"/>
          <a:stretch/>
        </p:blipFill>
        <p:spPr>
          <a:xfrm>
            <a:off x="-13696" y="4264389"/>
            <a:ext cx="3637319" cy="2610576"/>
          </a:xfrm>
          <a:prstGeom prst="rect">
            <a:avLst/>
          </a:prstGeom>
        </p:spPr>
      </p:pic>
      <p:grpSp>
        <p:nvGrpSpPr>
          <p:cNvPr id="46" name="Group 45">
            <a:extLst>
              <a:ext uri="{FF2B5EF4-FFF2-40B4-BE49-F238E27FC236}">
                <a16:creationId xmlns:a16="http://schemas.microsoft.com/office/drawing/2014/main" id="{CBCD1927-0070-4E8E-B21A-7D916D6F7B87}"/>
              </a:ext>
            </a:extLst>
          </p:cNvPr>
          <p:cNvGrpSpPr/>
          <p:nvPr/>
        </p:nvGrpSpPr>
        <p:grpSpPr>
          <a:xfrm>
            <a:off x="3563744" y="3896353"/>
            <a:ext cx="8570737" cy="2994634"/>
            <a:chOff x="2993767" y="2062299"/>
            <a:chExt cx="8570737" cy="2994634"/>
          </a:xfrm>
        </p:grpSpPr>
        <p:pic>
          <p:nvPicPr>
            <p:cNvPr id="47" name="Picture 46">
              <a:extLst>
                <a:ext uri="{FF2B5EF4-FFF2-40B4-BE49-F238E27FC236}">
                  <a16:creationId xmlns:a16="http://schemas.microsoft.com/office/drawing/2014/main" id="{CCA7D3AD-3DB6-4699-970B-1BF3BE76E0BD}"/>
                </a:ext>
              </a:extLst>
            </p:cNvPr>
            <p:cNvPicPr>
              <a:picLocks noChangeAspect="1"/>
            </p:cNvPicPr>
            <p:nvPr/>
          </p:nvPicPr>
          <p:blipFill rotWithShape="1">
            <a:blip r:embed="rId7"/>
            <a:srcRect l="14553" b="28383"/>
            <a:stretch/>
          </p:blipFill>
          <p:spPr>
            <a:xfrm>
              <a:off x="2994338" y="2062299"/>
              <a:ext cx="8570166" cy="2994634"/>
            </a:xfrm>
            <a:prstGeom prst="rect">
              <a:avLst/>
            </a:prstGeom>
          </p:spPr>
        </p:pic>
        <p:pic>
          <p:nvPicPr>
            <p:cNvPr id="48" name="Picture 47">
              <a:extLst>
                <a:ext uri="{FF2B5EF4-FFF2-40B4-BE49-F238E27FC236}">
                  <a16:creationId xmlns:a16="http://schemas.microsoft.com/office/drawing/2014/main" id="{3E227DAA-2C36-461F-ADF1-6B86B171BA01}"/>
                </a:ext>
              </a:extLst>
            </p:cNvPr>
            <p:cNvPicPr>
              <a:picLocks noChangeAspect="1"/>
            </p:cNvPicPr>
            <p:nvPr/>
          </p:nvPicPr>
          <p:blipFill rotWithShape="1">
            <a:blip r:embed="rId7"/>
            <a:srcRect l="14633" t="25909" b="62129"/>
            <a:stretch/>
          </p:blipFill>
          <p:spPr>
            <a:xfrm>
              <a:off x="2994337" y="2817898"/>
              <a:ext cx="8562157" cy="500197"/>
            </a:xfrm>
            <a:prstGeom prst="rect">
              <a:avLst/>
            </a:prstGeom>
          </p:spPr>
        </p:pic>
        <p:pic>
          <p:nvPicPr>
            <p:cNvPr id="49" name="Picture 48">
              <a:extLst>
                <a:ext uri="{FF2B5EF4-FFF2-40B4-BE49-F238E27FC236}">
                  <a16:creationId xmlns:a16="http://schemas.microsoft.com/office/drawing/2014/main" id="{8975B1AB-2C3A-4B30-8606-D20C19D095E4}"/>
                </a:ext>
              </a:extLst>
            </p:cNvPr>
            <p:cNvPicPr>
              <a:picLocks noChangeAspect="1"/>
            </p:cNvPicPr>
            <p:nvPr/>
          </p:nvPicPr>
          <p:blipFill rotWithShape="1">
            <a:blip r:embed="rId7"/>
            <a:srcRect l="14633" t="54682" b="37003"/>
            <a:stretch/>
          </p:blipFill>
          <p:spPr>
            <a:xfrm>
              <a:off x="2993767" y="3953814"/>
              <a:ext cx="8562157" cy="347731"/>
            </a:xfrm>
            <a:prstGeom prst="rect">
              <a:avLst/>
            </a:prstGeom>
          </p:spPr>
        </p:pic>
        <p:pic>
          <p:nvPicPr>
            <p:cNvPr id="50" name="Picture 49">
              <a:extLst>
                <a:ext uri="{FF2B5EF4-FFF2-40B4-BE49-F238E27FC236}">
                  <a16:creationId xmlns:a16="http://schemas.microsoft.com/office/drawing/2014/main" id="{7A00EEB6-64D0-4B73-BAC8-44ACDFE2EB3A}"/>
                </a:ext>
              </a:extLst>
            </p:cNvPr>
            <p:cNvPicPr>
              <a:picLocks noChangeAspect="1"/>
            </p:cNvPicPr>
            <p:nvPr/>
          </p:nvPicPr>
          <p:blipFill rotWithShape="1">
            <a:blip r:embed="rId7"/>
            <a:srcRect l="15302" t="81606"/>
            <a:stretch/>
          </p:blipFill>
          <p:spPr>
            <a:xfrm>
              <a:off x="3052293" y="4287771"/>
              <a:ext cx="8495051" cy="769161"/>
            </a:xfrm>
            <a:prstGeom prst="rect">
              <a:avLst/>
            </a:prstGeom>
          </p:spPr>
        </p:pic>
      </p:grpSp>
      <p:sp>
        <p:nvSpPr>
          <p:cNvPr id="52" name="Text Placeholder 2">
            <a:extLst>
              <a:ext uri="{FF2B5EF4-FFF2-40B4-BE49-F238E27FC236}">
                <a16:creationId xmlns:a16="http://schemas.microsoft.com/office/drawing/2014/main" id="{1534A37E-A5B2-4668-AC48-A43CE847F6C7}"/>
              </a:ext>
            </a:extLst>
          </p:cNvPr>
          <p:cNvSpPr txBox="1">
            <a:spLocks/>
          </p:cNvSpPr>
          <p:nvPr/>
        </p:nvSpPr>
        <p:spPr>
          <a:xfrm>
            <a:off x="3615546" y="3770534"/>
            <a:ext cx="1615245"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Predictions</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44" name="Text Placeholder 2">
            <a:extLst>
              <a:ext uri="{FF2B5EF4-FFF2-40B4-BE49-F238E27FC236}">
                <a16:creationId xmlns:a16="http://schemas.microsoft.com/office/drawing/2014/main" id="{C1CB1F6D-A3C1-4B5B-835F-A8225C8F6CF8}"/>
              </a:ext>
            </a:extLst>
          </p:cNvPr>
          <p:cNvSpPr txBox="1">
            <a:spLocks/>
          </p:cNvSpPr>
          <p:nvPr/>
        </p:nvSpPr>
        <p:spPr>
          <a:xfrm>
            <a:off x="152889" y="3778113"/>
            <a:ext cx="2126387"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Frequent Items</a:t>
            </a:r>
            <a:endParaRPr lang="id-ID" sz="2400" b="1"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220199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0-#ppt_w/2"/>
                                          </p:val>
                                        </p:tav>
                                        <p:tav tm="100000">
                                          <p:val>
                                            <p:strVal val="#ppt_x"/>
                                          </p:val>
                                        </p:tav>
                                      </p:tavLst>
                                    </p:anim>
                                    <p:anim calcmode="lin" valueType="num">
                                      <p:cBhvr additive="base">
                                        <p:cTn id="8" dur="10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7431924E-BB05-4DED-9183-6D454C9FCFB3}"/>
              </a:ext>
            </a:extLst>
          </p:cNvPr>
          <p:cNvPicPr>
            <a:picLocks noGrp="1" noChangeAspect="1"/>
          </p:cNvPicPr>
          <p:nvPr>
            <p:ph type="pic" sz="quarter" idx="12"/>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p:blipFill>
        <p:spPr>
          <a:xfrm>
            <a:off x="8578278" y="1000755"/>
            <a:ext cx="3336813" cy="2311459"/>
          </a:xfrm>
          <a:prstGeom prst="rect">
            <a:avLst/>
          </a:prstGeom>
          <a:effectLst>
            <a:outerShdw blurRad="863600" dist="1231900" dir="8220000" sx="75000" sy="75000" algn="tr" rotWithShape="0">
              <a:prstClr val="black">
                <a:alpha val="30000"/>
              </a:prstClr>
            </a:outerShdw>
          </a:effectLst>
        </p:spPr>
      </p:pic>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sp>
        <p:nvSpPr>
          <p:cNvPr id="18" name="Title 7">
            <a:extLst>
              <a:ext uri="{FF2B5EF4-FFF2-40B4-BE49-F238E27FC236}">
                <a16:creationId xmlns:a16="http://schemas.microsoft.com/office/drawing/2014/main" id="{13C638E3-A2D3-4D6B-93FB-72AE0BBB8CC1}"/>
              </a:ext>
            </a:extLst>
          </p:cNvPr>
          <p:cNvSpPr txBox="1">
            <a:spLocks/>
          </p:cNvSpPr>
          <p:nvPr/>
        </p:nvSpPr>
        <p:spPr>
          <a:xfrm>
            <a:off x="415934" y="367800"/>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Alternative Least Squares</a:t>
            </a:r>
            <a:endParaRPr lang="id-ID" sz="4000" spc="0" dirty="0">
              <a:latin typeface="Aller" panose="020B0503030302020204" pitchFamily="34" charset="0"/>
            </a:endParaRPr>
          </a:p>
        </p:txBody>
      </p:sp>
      <p:pic>
        <p:nvPicPr>
          <p:cNvPr id="20" name="Picture Placeholder 8">
            <a:extLst>
              <a:ext uri="{FF2B5EF4-FFF2-40B4-BE49-F238E27FC236}">
                <a16:creationId xmlns:a16="http://schemas.microsoft.com/office/drawing/2014/main" id="{B9603154-893A-4676-9C9F-7A01CD4295C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449608" y="4372793"/>
            <a:ext cx="3464370" cy="2361241"/>
          </a:xfrm>
          <a:prstGeom prst="rect">
            <a:avLst/>
          </a:prstGeom>
          <a:solidFill>
            <a:schemeClr val="bg1">
              <a:lumMod val="95000"/>
            </a:schemeClr>
          </a:solidFill>
          <a:effectLst>
            <a:outerShdw blurRad="863600" dist="1231900" dir="8220000" sx="75000" sy="75000" algn="tr" rotWithShape="0">
              <a:prstClr val="black">
                <a:alpha val="30000"/>
              </a:prstClr>
            </a:outerShdw>
          </a:effectLst>
        </p:spPr>
      </p:pic>
      <p:grpSp>
        <p:nvGrpSpPr>
          <p:cNvPr id="13" name="Group 12">
            <a:extLst>
              <a:ext uri="{FF2B5EF4-FFF2-40B4-BE49-F238E27FC236}">
                <a16:creationId xmlns:a16="http://schemas.microsoft.com/office/drawing/2014/main" id="{6FF41204-2CE0-4CE4-99EC-ABFBC3D2A638}"/>
              </a:ext>
            </a:extLst>
          </p:cNvPr>
          <p:cNvGrpSpPr/>
          <p:nvPr/>
        </p:nvGrpSpPr>
        <p:grpSpPr>
          <a:xfrm>
            <a:off x="-65427" y="2380380"/>
            <a:ext cx="5282313" cy="4541822"/>
            <a:chOff x="-757577" y="2374030"/>
            <a:chExt cx="5282313" cy="4541822"/>
          </a:xfrm>
        </p:grpSpPr>
        <p:pic>
          <p:nvPicPr>
            <p:cNvPr id="41" name="Picture 40">
              <a:extLst>
                <a:ext uri="{FF2B5EF4-FFF2-40B4-BE49-F238E27FC236}">
                  <a16:creationId xmlns:a16="http://schemas.microsoft.com/office/drawing/2014/main" id="{7DA90A8F-5EF1-476B-B351-0887BA540C0A}"/>
                </a:ext>
              </a:extLst>
            </p:cNvPr>
            <p:cNvPicPr>
              <a:picLocks noChangeAspect="1"/>
            </p:cNvPicPr>
            <p:nvPr/>
          </p:nvPicPr>
          <p:blipFill rotWithShape="1">
            <a:blip r:embed="rId6"/>
            <a:srcRect t="2088" r="1238"/>
            <a:stretch/>
          </p:blipFill>
          <p:spPr>
            <a:xfrm>
              <a:off x="-757577" y="2374030"/>
              <a:ext cx="5183304" cy="4541822"/>
            </a:xfrm>
            <a:prstGeom prst="rect">
              <a:avLst/>
            </a:prstGeom>
          </p:spPr>
        </p:pic>
        <p:pic>
          <p:nvPicPr>
            <p:cNvPr id="43" name="Picture 42">
              <a:extLst>
                <a:ext uri="{FF2B5EF4-FFF2-40B4-BE49-F238E27FC236}">
                  <a16:creationId xmlns:a16="http://schemas.microsoft.com/office/drawing/2014/main" id="{ACD4E9B5-393B-464E-915A-7C7E3CC3D454}"/>
                </a:ext>
              </a:extLst>
            </p:cNvPr>
            <p:cNvPicPr>
              <a:picLocks noChangeAspect="1"/>
            </p:cNvPicPr>
            <p:nvPr/>
          </p:nvPicPr>
          <p:blipFill rotWithShape="1">
            <a:blip r:embed="rId6"/>
            <a:srcRect l="5203" t="-1169" r="65000" b="89566"/>
            <a:stretch/>
          </p:blipFill>
          <p:spPr>
            <a:xfrm rot="5400000">
              <a:off x="3553630" y="2866751"/>
              <a:ext cx="1463825" cy="478387"/>
            </a:xfrm>
            <a:prstGeom prst="rect">
              <a:avLst/>
            </a:prstGeom>
          </p:spPr>
        </p:pic>
      </p:grpSp>
      <p:pic>
        <p:nvPicPr>
          <p:cNvPr id="17" name="Picture Placeholder 8">
            <a:extLst>
              <a:ext uri="{FF2B5EF4-FFF2-40B4-BE49-F238E27FC236}">
                <a16:creationId xmlns:a16="http://schemas.microsoft.com/office/drawing/2014/main" id="{45AA7D8F-48ED-4518-9F3E-F6EF90A919A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020071" y="2292434"/>
            <a:ext cx="3372326" cy="2273132"/>
          </a:xfrm>
          <a:prstGeom prst="rect">
            <a:avLst/>
          </a:prstGeom>
          <a:solidFill>
            <a:schemeClr val="bg1">
              <a:lumMod val="95000"/>
            </a:schemeClr>
          </a:solidFill>
          <a:effectLst>
            <a:outerShdw blurRad="863600" dist="1231900" dir="8220000" sx="75000" sy="75000" algn="tr" rotWithShape="0">
              <a:prstClr val="black">
                <a:alpha val="30000"/>
              </a:prstClr>
            </a:outerShdw>
          </a:effectLst>
        </p:spPr>
      </p:pic>
      <p:sp>
        <p:nvSpPr>
          <p:cNvPr id="45" name="Text Placeholder 2">
            <a:extLst>
              <a:ext uri="{FF2B5EF4-FFF2-40B4-BE49-F238E27FC236}">
                <a16:creationId xmlns:a16="http://schemas.microsoft.com/office/drawing/2014/main" id="{6532E208-EEE0-47CA-BC7D-0D2A8ADD52CB}"/>
              </a:ext>
            </a:extLst>
          </p:cNvPr>
          <p:cNvSpPr txBox="1">
            <a:spLocks/>
          </p:cNvSpPr>
          <p:nvPr/>
        </p:nvSpPr>
        <p:spPr>
          <a:xfrm>
            <a:off x="9500940" y="120355"/>
            <a:ext cx="1479686"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Las Vegas</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46" name="Text Placeholder 2">
            <a:extLst>
              <a:ext uri="{FF2B5EF4-FFF2-40B4-BE49-F238E27FC236}">
                <a16:creationId xmlns:a16="http://schemas.microsoft.com/office/drawing/2014/main" id="{CE577042-5E4F-4F4B-AD45-B423A2A7FC70}"/>
              </a:ext>
            </a:extLst>
          </p:cNvPr>
          <p:cNvSpPr txBox="1">
            <a:spLocks/>
          </p:cNvSpPr>
          <p:nvPr/>
        </p:nvSpPr>
        <p:spPr>
          <a:xfrm>
            <a:off x="6025579" y="1329358"/>
            <a:ext cx="1207933"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Phoenix</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47" name="Text Placeholder 2">
            <a:extLst>
              <a:ext uri="{FF2B5EF4-FFF2-40B4-BE49-F238E27FC236}">
                <a16:creationId xmlns:a16="http://schemas.microsoft.com/office/drawing/2014/main" id="{D487BDEA-6387-4F19-8F89-666B3187CFB7}"/>
              </a:ext>
            </a:extLst>
          </p:cNvPr>
          <p:cNvSpPr txBox="1">
            <a:spLocks/>
          </p:cNvSpPr>
          <p:nvPr/>
        </p:nvSpPr>
        <p:spPr>
          <a:xfrm>
            <a:off x="9463213" y="3492390"/>
            <a:ext cx="1524965"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Scottsdale</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48" name="Rectangle 47">
            <a:extLst>
              <a:ext uri="{FF2B5EF4-FFF2-40B4-BE49-F238E27FC236}">
                <a16:creationId xmlns:a16="http://schemas.microsoft.com/office/drawing/2014/main" id="{A3CEA01B-51D0-4410-87E0-254713B6B38B}"/>
              </a:ext>
            </a:extLst>
          </p:cNvPr>
          <p:cNvSpPr/>
          <p:nvPr/>
        </p:nvSpPr>
        <p:spPr>
          <a:xfrm>
            <a:off x="8757844" y="561584"/>
            <a:ext cx="3762377" cy="430887"/>
          </a:xfrm>
          <a:prstGeom prst="rect">
            <a:avLst/>
          </a:prstGeom>
        </p:spPr>
        <p:txBody>
          <a:bodyPr wrap="square">
            <a:spAutoFit/>
          </a:bodyPr>
          <a:lstStyle/>
          <a:p>
            <a:pPr algn="just"/>
            <a:r>
              <a:rPr lang="en-US" sz="2200" dirty="0">
                <a:solidFill>
                  <a:schemeClr val="tx1">
                    <a:lumMod val="50000"/>
                    <a:lumOff val="50000"/>
                  </a:schemeClr>
                </a:solidFill>
                <a:latin typeface="Segoe UI Light" panose="020B0502040204020203" pitchFamily="34" charset="0"/>
                <a:cs typeface="Segoe UI Light" panose="020B0502040204020203" pitchFamily="34" charset="0"/>
              </a:rPr>
              <a:t>RMSE: 1.374 | r2: -0.097</a:t>
            </a:r>
          </a:p>
        </p:txBody>
      </p:sp>
      <p:sp>
        <p:nvSpPr>
          <p:cNvPr id="52" name="Rectangle 51">
            <a:extLst>
              <a:ext uri="{FF2B5EF4-FFF2-40B4-BE49-F238E27FC236}">
                <a16:creationId xmlns:a16="http://schemas.microsoft.com/office/drawing/2014/main" id="{F4BA92E3-7A09-4896-98C0-7E23247370C6}"/>
              </a:ext>
            </a:extLst>
          </p:cNvPr>
          <p:cNvSpPr/>
          <p:nvPr/>
        </p:nvSpPr>
        <p:spPr>
          <a:xfrm>
            <a:off x="5254232" y="1836587"/>
            <a:ext cx="3762377" cy="430887"/>
          </a:xfrm>
          <a:prstGeom prst="rect">
            <a:avLst/>
          </a:prstGeom>
        </p:spPr>
        <p:txBody>
          <a:bodyPr wrap="square">
            <a:spAutoFit/>
          </a:bodyPr>
          <a:lstStyle/>
          <a:p>
            <a:pPr algn="just"/>
            <a:r>
              <a:rPr lang="en-US" sz="2200" dirty="0">
                <a:solidFill>
                  <a:schemeClr val="tx1">
                    <a:lumMod val="50000"/>
                    <a:lumOff val="50000"/>
                  </a:schemeClr>
                </a:solidFill>
                <a:latin typeface="Segoe UI Light" panose="020B0502040204020203" pitchFamily="34" charset="0"/>
                <a:cs typeface="Segoe UI Light" panose="020B0502040204020203" pitchFamily="34" charset="0"/>
              </a:rPr>
              <a:t>RMSE: 1.366 | r2: -0.102</a:t>
            </a:r>
          </a:p>
        </p:txBody>
      </p:sp>
      <p:sp>
        <p:nvSpPr>
          <p:cNvPr id="54" name="Rectangle 53">
            <a:extLst>
              <a:ext uri="{FF2B5EF4-FFF2-40B4-BE49-F238E27FC236}">
                <a16:creationId xmlns:a16="http://schemas.microsoft.com/office/drawing/2014/main" id="{5D112DE9-18BE-44B6-9EFC-286265099EDC}"/>
              </a:ext>
            </a:extLst>
          </p:cNvPr>
          <p:cNvSpPr/>
          <p:nvPr/>
        </p:nvSpPr>
        <p:spPr>
          <a:xfrm>
            <a:off x="8757845" y="4012715"/>
            <a:ext cx="3762377" cy="430887"/>
          </a:xfrm>
          <a:prstGeom prst="rect">
            <a:avLst/>
          </a:prstGeom>
        </p:spPr>
        <p:txBody>
          <a:bodyPr wrap="square">
            <a:spAutoFit/>
          </a:bodyPr>
          <a:lstStyle/>
          <a:p>
            <a:pPr algn="just"/>
            <a:r>
              <a:rPr lang="en-US" sz="2200" dirty="0">
                <a:solidFill>
                  <a:schemeClr val="tx1">
                    <a:lumMod val="50000"/>
                    <a:lumOff val="50000"/>
                  </a:schemeClr>
                </a:solidFill>
                <a:latin typeface="Segoe UI Light" panose="020B0502040204020203" pitchFamily="34" charset="0"/>
                <a:cs typeface="Segoe UI Light" panose="020B0502040204020203" pitchFamily="34" charset="0"/>
              </a:rPr>
              <a:t>RMSE: 1.392 | r2: -0.180</a:t>
            </a:r>
          </a:p>
        </p:txBody>
      </p:sp>
      <p:sp>
        <p:nvSpPr>
          <p:cNvPr id="14" name="Rectangle 13">
            <a:extLst>
              <a:ext uri="{FF2B5EF4-FFF2-40B4-BE49-F238E27FC236}">
                <a16:creationId xmlns:a16="http://schemas.microsoft.com/office/drawing/2014/main" id="{EC434252-DD4F-4C34-AEEA-15D0637FD1C0}"/>
              </a:ext>
            </a:extLst>
          </p:cNvPr>
          <p:cNvSpPr/>
          <p:nvPr/>
        </p:nvSpPr>
        <p:spPr>
          <a:xfrm>
            <a:off x="786417" y="1056848"/>
            <a:ext cx="4180456" cy="1246495"/>
          </a:xfrm>
          <a:prstGeom prst="rect">
            <a:avLst/>
          </a:prstGeom>
        </p:spPr>
        <p:txBody>
          <a:bodyPr wrap="square">
            <a:spAutoFit/>
          </a:bodyPr>
          <a:lstStyle/>
          <a:p>
            <a:pPr marL="285750" indent="-28575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ALS is an iterative optimization process where we for every iteration try to arrive closer to a factorized representation of the original data. The algorithm is based on “Collaborative Filtering for Implicit Feedback Datasets”. </a:t>
            </a:r>
          </a:p>
        </p:txBody>
      </p:sp>
    </p:spTree>
    <p:extLst>
      <p:ext uri="{BB962C8B-B14F-4D97-AF65-F5344CB8AC3E}">
        <p14:creationId xmlns:p14="http://schemas.microsoft.com/office/powerpoint/2010/main" val="106376513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0-#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sp>
        <p:nvSpPr>
          <p:cNvPr id="18" name="Title 7">
            <a:extLst>
              <a:ext uri="{FF2B5EF4-FFF2-40B4-BE49-F238E27FC236}">
                <a16:creationId xmlns:a16="http://schemas.microsoft.com/office/drawing/2014/main" id="{13C638E3-A2D3-4D6B-93FB-72AE0BBB8CC1}"/>
              </a:ext>
            </a:extLst>
          </p:cNvPr>
          <p:cNvSpPr txBox="1">
            <a:spLocks/>
          </p:cNvSpPr>
          <p:nvPr/>
        </p:nvSpPr>
        <p:spPr>
          <a:xfrm>
            <a:off x="415934" y="367800"/>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Alternative Least Squares</a:t>
            </a:r>
            <a:endParaRPr lang="id-ID" sz="4000" spc="0" dirty="0">
              <a:latin typeface="Aller" panose="020B0503030302020204" pitchFamily="34" charset="0"/>
            </a:endParaRPr>
          </a:p>
        </p:txBody>
      </p:sp>
      <p:grpSp>
        <p:nvGrpSpPr>
          <p:cNvPr id="13" name="Group 12">
            <a:extLst>
              <a:ext uri="{FF2B5EF4-FFF2-40B4-BE49-F238E27FC236}">
                <a16:creationId xmlns:a16="http://schemas.microsoft.com/office/drawing/2014/main" id="{6FF41204-2CE0-4CE4-99EC-ABFBC3D2A638}"/>
              </a:ext>
            </a:extLst>
          </p:cNvPr>
          <p:cNvGrpSpPr/>
          <p:nvPr/>
        </p:nvGrpSpPr>
        <p:grpSpPr>
          <a:xfrm>
            <a:off x="-65427" y="2380380"/>
            <a:ext cx="5282313" cy="4541822"/>
            <a:chOff x="-757577" y="2374030"/>
            <a:chExt cx="5282313" cy="4541822"/>
          </a:xfrm>
        </p:grpSpPr>
        <p:pic>
          <p:nvPicPr>
            <p:cNvPr id="41" name="Picture 40">
              <a:extLst>
                <a:ext uri="{FF2B5EF4-FFF2-40B4-BE49-F238E27FC236}">
                  <a16:creationId xmlns:a16="http://schemas.microsoft.com/office/drawing/2014/main" id="{7DA90A8F-5EF1-476B-B351-0887BA540C0A}"/>
                </a:ext>
              </a:extLst>
            </p:cNvPr>
            <p:cNvPicPr>
              <a:picLocks noChangeAspect="1"/>
            </p:cNvPicPr>
            <p:nvPr/>
          </p:nvPicPr>
          <p:blipFill rotWithShape="1">
            <a:blip r:embed="rId3"/>
            <a:srcRect t="2088" r="1238"/>
            <a:stretch/>
          </p:blipFill>
          <p:spPr>
            <a:xfrm>
              <a:off x="-757577" y="2374030"/>
              <a:ext cx="5183304" cy="4541822"/>
            </a:xfrm>
            <a:prstGeom prst="rect">
              <a:avLst/>
            </a:prstGeom>
          </p:spPr>
        </p:pic>
        <p:pic>
          <p:nvPicPr>
            <p:cNvPr id="43" name="Picture 42">
              <a:extLst>
                <a:ext uri="{FF2B5EF4-FFF2-40B4-BE49-F238E27FC236}">
                  <a16:creationId xmlns:a16="http://schemas.microsoft.com/office/drawing/2014/main" id="{ACD4E9B5-393B-464E-915A-7C7E3CC3D454}"/>
                </a:ext>
              </a:extLst>
            </p:cNvPr>
            <p:cNvPicPr>
              <a:picLocks noChangeAspect="1"/>
            </p:cNvPicPr>
            <p:nvPr/>
          </p:nvPicPr>
          <p:blipFill rotWithShape="1">
            <a:blip r:embed="rId3"/>
            <a:srcRect l="5203" t="-1169" r="65000" b="89566"/>
            <a:stretch/>
          </p:blipFill>
          <p:spPr>
            <a:xfrm rot="5400000">
              <a:off x="3553630" y="2866751"/>
              <a:ext cx="1463825" cy="478387"/>
            </a:xfrm>
            <a:prstGeom prst="rect">
              <a:avLst/>
            </a:prstGeom>
          </p:spPr>
        </p:pic>
      </p:grpSp>
      <p:sp>
        <p:nvSpPr>
          <p:cNvPr id="45" name="Text Placeholder 2">
            <a:extLst>
              <a:ext uri="{FF2B5EF4-FFF2-40B4-BE49-F238E27FC236}">
                <a16:creationId xmlns:a16="http://schemas.microsoft.com/office/drawing/2014/main" id="{6532E208-EEE0-47CA-BC7D-0D2A8ADD52CB}"/>
              </a:ext>
            </a:extLst>
          </p:cNvPr>
          <p:cNvSpPr txBox="1">
            <a:spLocks/>
          </p:cNvSpPr>
          <p:nvPr/>
        </p:nvSpPr>
        <p:spPr>
          <a:xfrm>
            <a:off x="563572" y="1176027"/>
            <a:ext cx="3152432" cy="926302"/>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l">
              <a:lnSpc>
                <a:spcPct val="100000"/>
              </a:lnSpc>
            </a:pPr>
            <a:r>
              <a:rPr lang="en-US" sz="2400" b="1" dirty="0">
                <a:solidFill>
                  <a:schemeClr val="bg1"/>
                </a:solidFill>
                <a:latin typeface="Segoe UI Light" panose="020B0502040204020203" pitchFamily="34" charset="0"/>
                <a:cs typeface="Segoe UI Light" panose="020B0502040204020203" pitchFamily="34" charset="0"/>
              </a:rPr>
              <a:t>Recommendation for Restaurants and Users</a:t>
            </a:r>
            <a:endParaRPr lang="id-ID" sz="2400" b="1" dirty="0">
              <a:solidFill>
                <a:schemeClr val="bg1"/>
              </a:solidFill>
              <a:latin typeface="Segoe UI Light" panose="020B0502040204020203" pitchFamily="34" charset="0"/>
              <a:cs typeface="Segoe UI Light" panose="020B0502040204020203" pitchFamily="34" charset="0"/>
            </a:endParaRPr>
          </a:p>
        </p:txBody>
      </p:sp>
      <p:grpSp>
        <p:nvGrpSpPr>
          <p:cNvPr id="19" name="Group 18">
            <a:extLst>
              <a:ext uri="{FF2B5EF4-FFF2-40B4-BE49-F238E27FC236}">
                <a16:creationId xmlns:a16="http://schemas.microsoft.com/office/drawing/2014/main" id="{E93DCB8A-4D9F-458B-ACDF-AFE497B41F36}"/>
              </a:ext>
            </a:extLst>
          </p:cNvPr>
          <p:cNvGrpSpPr/>
          <p:nvPr/>
        </p:nvGrpSpPr>
        <p:grpSpPr>
          <a:xfrm>
            <a:off x="9162446" y="1549559"/>
            <a:ext cx="272771" cy="492124"/>
            <a:chOff x="10342238" y="3964730"/>
            <a:chExt cx="105115" cy="267359"/>
          </a:xfrm>
          <a:solidFill>
            <a:srgbClr val="C00000"/>
          </a:solidFill>
        </p:grpSpPr>
        <p:sp>
          <p:nvSpPr>
            <p:cNvPr id="21" name="Freeform 12">
              <a:extLst>
                <a:ext uri="{FF2B5EF4-FFF2-40B4-BE49-F238E27FC236}">
                  <a16:creationId xmlns:a16="http://schemas.microsoft.com/office/drawing/2014/main" id="{598D0636-70BD-453B-9C1A-3B0D588B7DB6}"/>
                </a:ext>
              </a:extLst>
            </p:cNvPr>
            <p:cNvSpPr>
              <a:spLocks/>
            </p:cNvSpPr>
            <p:nvPr/>
          </p:nvSpPr>
          <p:spPr bwMode="auto">
            <a:xfrm>
              <a:off x="10342238" y="4010430"/>
              <a:ext cx="105115" cy="221659"/>
            </a:xfrm>
            <a:custGeom>
              <a:avLst/>
              <a:gdLst>
                <a:gd name="T0" fmla="*/ 59 w 78"/>
                <a:gd name="T1" fmla="*/ 0 h 164"/>
                <a:gd name="T2" fmla="*/ 20 w 78"/>
                <a:gd name="T3" fmla="*/ 0 h 164"/>
                <a:gd name="T4" fmla="*/ 0 w 78"/>
                <a:gd name="T5" fmla="*/ 16 h 164"/>
                <a:gd name="T6" fmla="*/ 0 w 78"/>
                <a:gd name="T7" fmla="*/ 16 h 164"/>
                <a:gd name="T8" fmla="*/ 0 w 78"/>
                <a:gd name="T9" fmla="*/ 19 h 164"/>
                <a:gd name="T10" fmla="*/ 0 w 78"/>
                <a:gd name="T11" fmla="*/ 74 h 164"/>
                <a:gd name="T12" fmla="*/ 7 w 78"/>
                <a:gd name="T13" fmla="*/ 80 h 164"/>
                <a:gd name="T14" fmla="*/ 13 w 78"/>
                <a:gd name="T15" fmla="*/ 74 h 164"/>
                <a:gd name="T16" fmla="*/ 13 w 78"/>
                <a:gd name="T17" fmla="*/ 26 h 164"/>
                <a:gd name="T18" fmla="*/ 19 w 78"/>
                <a:gd name="T19" fmla="*/ 26 h 164"/>
                <a:gd name="T20" fmla="*/ 19 w 78"/>
                <a:gd name="T21" fmla="*/ 72 h 164"/>
                <a:gd name="T22" fmla="*/ 19 w 78"/>
                <a:gd name="T23" fmla="*/ 73 h 164"/>
                <a:gd name="T24" fmla="*/ 19 w 78"/>
                <a:gd name="T25" fmla="*/ 154 h 164"/>
                <a:gd name="T26" fmla="*/ 28 w 78"/>
                <a:gd name="T27" fmla="*/ 164 h 164"/>
                <a:gd name="T28" fmla="*/ 37 w 78"/>
                <a:gd name="T29" fmla="*/ 154 h 164"/>
                <a:gd name="T30" fmla="*/ 37 w 78"/>
                <a:gd name="T31" fmla="*/ 83 h 164"/>
                <a:gd name="T32" fmla="*/ 41 w 78"/>
                <a:gd name="T33" fmla="*/ 83 h 164"/>
                <a:gd name="T34" fmla="*/ 41 w 78"/>
                <a:gd name="T35" fmla="*/ 154 h 164"/>
                <a:gd name="T36" fmla="*/ 50 w 78"/>
                <a:gd name="T37" fmla="*/ 164 h 164"/>
                <a:gd name="T38" fmla="*/ 59 w 78"/>
                <a:gd name="T39" fmla="*/ 154 h 164"/>
                <a:gd name="T40" fmla="*/ 59 w 78"/>
                <a:gd name="T41" fmla="*/ 72 h 164"/>
                <a:gd name="T42" fmla="*/ 59 w 78"/>
                <a:gd name="T43" fmla="*/ 71 h 164"/>
                <a:gd name="T44" fmla="*/ 59 w 78"/>
                <a:gd name="T45" fmla="*/ 26 h 164"/>
                <a:gd name="T46" fmla="*/ 64 w 78"/>
                <a:gd name="T47" fmla="*/ 26 h 164"/>
                <a:gd name="T48" fmla="*/ 64 w 78"/>
                <a:gd name="T49" fmla="*/ 74 h 164"/>
                <a:gd name="T50" fmla="*/ 71 w 78"/>
                <a:gd name="T51" fmla="*/ 80 h 164"/>
                <a:gd name="T52" fmla="*/ 78 w 78"/>
                <a:gd name="T53" fmla="*/ 74 h 164"/>
                <a:gd name="T54" fmla="*/ 78 w 78"/>
                <a:gd name="T55" fmla="*/ 19 h 164"/>
                <a:gd name="T56" fmla="*/ 78 w 78"/>
                <a:gd name="T57" fmla="*/ 16 h 164"/>
                <a:gd name="T58" fmla="*/ 78 w 78"/>
                <a:gd name="T59" fmla="*/ 15 h 164"/>
                <a:gd name="T60" fmla="*/ 59 w 78"/>
                <a:gd name="T6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164">
                  <a:moveTo>
                    <a:pt x="59" y="0"/>
                  </a:moveTo>
                  <a:cubicBezTo>
                    <a:pt x="20" y="0"/>
                    <a:pt x="20" y="0"/>
                    <a:pt x="20" y="0"/>
                  </a:cubicBezTo>
                  <a:cubicBezTo>
                    <a:pt x="6" y="0"/>
                    <a:pt x="0" y="12"/>
                    <a:pt x="0" y="16"/>
                  </a:cubicBezTo>
                  <a:cubicBezTo>
                    <a:pt x="0" y="16"/>
                    <a:pt x="0" y="16"/>
                    <a:pt x="0" y="16"/>
                  </a:cubicBezTo>
                  <a:cubicBezTo>
                    <a:pt x="0" y="19"/>
                    <a:pt x="0" y="19"/>
                    <a:pt x="0" y="19"/>
                  </a:cubicBezTo>
                  <a:cubicBezTo>
                    <a:pt x="0" y="74"/>
                    <a:pt x="0" y="74"/>
                    <a:pt x="0" y="74"/>
                  </a:cubicBezTo>
                  <a:cubicBezTo>
                    <a:pt x="0" y="77"/>
                    <a:pt x="3" y="80"/>
                    <a:pt x="7" y="80"/>
                  </a:cubicBezTo>
                  <a:cubicBezTo>
                    <a:pt x="10" y="80"/>
                    <a:pt x="13" y="77"/>
                    <a:pt x="13" y="74"/>
                  </a:cubicBezTo>
                  <a:cubicBezTo>
                    <a:pt x="13" y="26"/>
                    <a:pt x="13" y="26"/>
                    <a:pt x="13" y="26"/>
                  </a:cubicBezTo>
                  <a:cubicBezTo>
                    <a:pt x="19" y="26"/>
                    <a:pt x="19" y="26"/>
                    <a:pt x="19" y="26"/>
                  </a:cubicBezTo>
                  <a:cubicBezTo>
                    <a:pt x="19" y="72"/>
                    <a:pt x="19" y="72"/>
                    <a:pt x="19" y="72"/>
                  </a:cubicBezTo>
                  <a:cubicBezTo>
                    <a:pt x="19" y="72"/>
                    <a:pt x="19" y="73"/>
                    <a:pt x="19" y="73"/>
                  </a:cubicBezTo>
                  <a:cubicBezTo>
                    <a:pt x="19" y="154"/>
                    <a:pt x="19" y="154"/>
                    <a:pt x="19" y="154"/>
                  </a:cubicBezTo>
                  <a:cubicBezTo>
                    <a:pt x="19" y="159"/>
                    <a:pt x="23" y="164"/>
                    <a:pt x="28" y="164"/>
                  </a:cubicBezTo>
                  <a:cubicBezTo>
                    <a:pt x="33" y="164"/>
                    <a:pt x="37" y="159"/>
                    <a:pt x="37" y="154"/>
                  </a:cubicBezTo>
                  <a:cubicBezTo>
                    <a:pt x="37" y="83"/>
                    <a:pt x="37" y="83"/>
                    <a:pt x="37" y="83"/>
                  </a:cubicBezTo>
                  <a:cubicBezTo>
                    <a:pt x="41" y="83"/>
                    <a:pt x="41" y="83"/>
                    <a:pt x="41" y="83"/>
                  </a:cubicBezTo>
                  <a:cubicBezTo>
                    <a:pt x="41" y="154"/>
                    <a:pt x="41" y="154"/>
                    <a:pt x="41" y="154"/>
                  </a:cubicBezTo>
                  <a:cubicBezTo>
                    <a:pt x="41" y="159"/>
                    <a:pt x="45" y="164"/>
                    <a:pt x="50" y="164"/>
                  </a:cubicBezTo>
                  <a:cubicBezTo>
                    <a:pt x="55" y="164"/>
                    <a:pt x="59" y="159"/>
                    <a:pt x="59" y="154"/>
                  </a:cubicBezTo>
                  <a:cubicBezTo>
                    <a:pt x="59" y="72"/>
                    <a:pt x="59" y="72"/>
                    <a:pt x="59" y="72"/>
                  </a:cubicBezTo>
                  <a:cubicBezTo>
                    <a:pt x="59" y="71"/>
                    <a:pt x="59" y="71"/>
                    <a:pt x="59" y="71"/>
                  </a:cubicBezTo>
                  <a:cubicBezTo>
                    <a:pt x="59" y="26"/>
                    <a:pt x="59" y="26"/>
                    <a:pt x="59" y="26"/>
                  </a:cubicBezTo>
                  <a:cubicBezTo>
                    <a:pt x="64" y="26"/>
                    <a:pt x="64" y="26"/>
                    <a:pt x="64" y="26"/>
                  </a:cubicBezTo>
                  <a:cubicBezTo>
                    <a:pt x="64" y="74"/>
                    <a:pt x="64" y="74"/>
                    <a:pt x="64" y="74"/>
                  </a:cubicBezTo>
                  <a:cubicBezTo>
                    <a:pt x="64" y="77"/>
                    <a:pt x="67" y="80"/>
                    <a:pt x="71" y="80"/>
                  </a:cubicBezTo>
                  <a:cubicBezTo>
                    <a:pt x="75" y="80"/>
                    <a:pt x="78" y="77"/>
                    <a:pt x="78" y="74"/>
                  </a:cubicBezTo>
                  <a:cubicBezTo>
                    <a:pt x="78" y="19"/>
                    <a:pt x="78" y="19"/>
                    <a:pt x="78" y="19"/>
                  </a:cubicBezTo>
                  <a:cubicBezTo>
                    <a:pt x="78" y="16"/>
                    <a:pt x="78" y="16"/>
                    <a:pt x="78" y="16"/>
                  </a:cubicBezTo>
                  <a:cubicBezTo>
                    <a:pt x="78" y="15"/>
                    <a:pt x="78" y="15"/>
                    <a:pt x="78" y="15"/>
                  </a:cubicBezTo>
                  <a:cubicBezTo>
                    <a:pt x="78" y="10"/>
                    <a:pt x="72" y="0"/>
                    <a:pt x="5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Segoe UI" panose="020B0502040204020203" pitchFamily="34" charset="0"/>
                <a:cs typeface="Segoe UI" panose="020B0502040204020203" pitchFamily="34" charset="0"/>
              </a:endParaRPr>
            </a:p>
          </p:txBody>
        </p:sp>
        <p:sp>
          <p:nvSpPr>
            <p:cNvPr id="22" name="Oval 13">
              <a:extLst>
                <a:ext uri="{FF2B5EF4-FFF2-40B4-BE49-F238E27FC236}">
                  <a16:creationId xmlns:a16="http://schemas.microsoft.com/office/drawing/2014/main" id="{F40F0817-7FCA-4FD2-BCC9-38A4D2DE6F30}"/>
                </a:ext>
              </a:extLst>
            </p:cNvPr>
            <p:cNvSpPr>
              <a:spLocks noChangeArrowheads="1"/>
            </p:cNvSpPr>
            <p:nvPr/>
          </p:nvSpPr>
          <p:spPr bwMode="auto">
            <a:xfrm>
              <a:off x="10374221" y="3964730"/>
              <a:ext cx="41703" cy="4170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Segoe UI" panose="020B0502040204020203" pitchFamily="34" charset="0"/>
                <a:cs typeface="Segoe UI" panose="020B0502040204020203" pitchFamily="34" charset="0"/>
              </a:endParaRPr>
            </a:p>
          </p:txBody>
        </p:sp>
      </p:grpSp>
      <p:sp>
        <p:nvSpPr>
          <p:cNvPr id="8" name="TextBox 7">
            <a:extLst>
              <a:ext uri="{FF2B5EF4-FFF2-40B4-BE49-F238E27FC236}">
                <a16:creationId xmlns:a16="http://schemas.microsoft.com/office/drawing/2014/main" id="{AF297509-4F02-49AE-9CDB-9BDDF56A01AC}"/>
              </a:ext>
            </a:extLst>
          </p:cNvPr>
          <p:cNvSpPr txBox="1"/>
          <p:nvPr/>
        </p:nvSpPr>
        <p:spPr>
          <a:xfrm>
            <a:off x="9162446" y="2323744"/>
            <a:ext cx="2479967" cy="3139321"/>
          </a:xfrm>
          <a:prstGeom prst="rect">
            <a:avLst/>
          </a:prstGeom>
          <a:noFill/>
        </p:spPr>
        <p:txBody>
          <a:bodyPr wrap="square" rtlCol="0">
            <a:spAutoFit/>
          </a:bodyPr>
          <a:lstStyle/>
          <a:p>
            <a:pPr marL="285750" indent="-285750">
              <a:buFont typeface="Arial" panose="020B0604020202020204" pitchFamily="34" charset="0"/>
              <a:buChar char="•"/>
            </a:pPr>
            <a:r>
              <a:rPr lang="en-US" dirty="0"/>
              <a:t>BBQ Concepts</a:t>
            </a:r>
          </a:p>
          <a:p>
            <a:pPr marL="285750" indent="-285750">
              <a:buFont typeface="Arial" panose="020B0604020202020204" pitchFamily="34" charset="0"/>
              <a:buChar char="•"/>
            </a:pPr>
            <a:r>
              <a:rPr lang="en-US" dirty="0"/>
              <a:t>Fernandez Hot-Dogs</a:t>
            </a:r>
          </a:p>
          <a:p>
            <a:pPr marL="285750" indent="-285750">
              <a:buFont typeface="Arial" panose="020B0604020202020204" pitchFamily="34" charset="0"/>
              <a:buChar char="•"/>
            </a:pPr>
            <a:r>
              <a:rPr lang="en-US" dirty="0"/>
              <a:t>The Steakhouse at Treasures</a:t>
            </a:r>
          </a:p>
          <a:p>
            <a:pPr marL="285750" indent="-285750">
              <a:buFont typeface="Arial" panose="020B0604020202020204" pitchFamily="34" charset="0"/>
              <a:buChar char="•"/>
            </a:pPr>
            <a:r>
              <a:rPr lang="en-US" dirty="0"/>
              <a:t>Tacos LV</a:t>
            </a:r>
          </a:p>
          <a:p>
            <a:pPr marL="285750" indent="-285750">
              <a:buFont typeface="Arial" panose="020B0604020202020204" pitchFamily="34" charset="0"/>
              <a:buChar char="•"/>
            </a:pPr>
            <a:r>
              <a:rPr lang="en-US" dirty="0"/>
              <a:t>Southern Kitchen</a:t>
            </a:r>
          </a:p>
          <a:p>
            <a:pPr marL="285750" indent="-285750">
              <a:buFont typeface="Arial" panose="020B0604020202020204" pitchFamily="34" charset="0"/>
              <a:buChar char="•"/>
            </a:pPr>
            <a:r>
              <a:rPr lang="en-US" dirty="0"/>
              <a:t>Pretzel Time</a:t>
            </a:r>
          </a:p>
          <a:p>
            <a:pPr marL="285750" indent="-285750">
              <a:buFont typeface="Arial" panose="020B0604020202020204" pitchFamily="34" charset="0"/>
              <a:buChar char="•"/>
            </a:pPr>
            <a:r>
              <a:rPr lang="en-US" dirty="0"/>
              <a:t>Potato Valley Café</a:t>
            </a:r>
          </a:p>
          <a:p>
            <a:pPr marL="285750" indent="-285750">
              <a:buFont typeface="Arial" panose="020B0604020202020204" pitchFamily="34" charset="0"/>
              <a:buChar char="•"/>
            </a:pPr>
            <a:r>
              <a:rPr lang="en-US" dirty="0"/>
              <a:t>Pho Ha </a:t>
            </a:r>
            <a:r>
              <a:rPr lang="en-US" dirty="0" err="1"/>
              <a:t>Noi</a:t>
            </a:r>
            <a:endParaRPr lang="en-US" dirty="0"/>
          </a:p>
          <a:p>
            <a:pPr marL="285750" indent="-285750">
              <a:buFont typeface="Arial" panose="020B0604020202020204" pitchFamily="34" charset="0"/>
              <a:buChar char="•"/>
            </a:pPr>
            <a:r>
              <a:rPr lang="en-US" dirty="0"/>
              <a:t>China Gourmet</a:t>
            </a:r>
          </a:p>
          <a:p>
            <a:pPr marL="285750" indent="-285750">
              <a:buFont typeface="Arial" panose="020B0604020202020204" pitchFamily="34" charset="0"/>
              <a:buChar char="•"/>
            </a:pPr>
            <a:r>
              <a:rPr lang="en-US" dirty="0"/>
              <a:t>Winter In July</a:t>
            </a:r>
          </a:p>
        </p:txBody>
      </p:sp>
      <p:sp>
        <p:nvSpPr>
          <p:cNvPr id="11" name="TextBox 10">
            <a:extLst>
              <a:ext uri="{FF2B5EF4-FFF2-40B4-BE49-F238E27FC236}">
                <a16:creationId xmlns:a16="http://schemas.microsoft.com/office/drawing/2014/main" id="{5E6BF6F7-DEC9-43D0-A975-507186D62E40}"/>
              </a:ext>
            </a:extLst>
          </p:cNvPr>
          <p:cNvSpPr txBox="1"/>
          <p:nvPr/>
        </p:nvSpPr>
        <p:spPr>
          <a:xfrm>
            <a:off x="9562249" y="1672351"/>
            <a:ext cx="787154" cy="369332"/>
          </a:xfrm>
          <a:prstGeom prst="rect">
            <a:avLst/>
          </a:prstGeom>
          <a:noFill/>
        </p:spPr>
        <p:txBody>
          <a:bodyPr wrap="square" rtlCol="0">
            <a:spAutoFit/>
          </a:bodyPr>
          <a:lstStyle/>
          <a:p>
            <a:r>
              <a:rPr lang="en-US" altLang="zh-CN" dirty="0"/>
              <a:t>Allan</a:t>
            </a:r>
          </a:p>
        </p:txBody>
      </p:sp>
      <p:sp>
        <p:nvSpPr>
          <p:cNvPr id="12" name="Rectangle 11">
            <a:extLst>
              <a:ext uri="{FF2B5EF4-FFF2-40B4-BE49-F238E27FC236}">
                <a16:creationId xmlns:a16="http://schemas.microsoft.com/office/drawing/2014/main" id="{8B2D54C6-DA9D-44D1-9D58-20D57BD77832}"/>
              </a:ext>
            </a:extLst>
          </p:cNvPr>
          <p:cNvSpPr/>
          <p:nvPr/>
        </p:nvSpPr>
        <p:spPr>
          <a:xfrm>
            <a:off x="8765504" y="1302276"/>
            <a:ext cx="3152432" cy="460674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7DA03E3F-5552-4AF0-9C25-551EDD06FC5D}"/>
              </a:ext>
            </a:extLst>
          </p:cNvPr>
          <p:cNvSpPr txBox="1"/>
          <p:nvPr/>
        </p:nvSpPr>
        <p:spPr>
          <a:xfrm>
            <a:off x="5927159" y="2600743"/>
            <a:ext cx="1518918" cy="2862322"/>
          </a:xfrm>
          <a:prstGeom prst="rect">
            <a:avLst/>
          </a:prstGeom>
          <a:noFill/>
        </p:spPr>
        <p:txBody>
          <a:bodyPr wrap="square" rtlCol="0">
            <a:spAutoFit/>
          </a:bodyPr>
          <a:lstStyle/>
          <a:p>
            <a:pPr marL="285750" indent="-285750">
              <a:buFont typeface="Arial" panose="020B0604020202020204" pitchFamily="34" charset="0"/>
              <a:buChar char="•"/>
            </a:pPr>
            <a:r>
              <a:rPr lang="en-US" dirty="0"/>
              <a:t>Paul</a:t>
            </a:r>
          </a:p>
          <a:p>
            <a:pPr marL="285750" indent="-285750">
              <a:buFont typeface="Arial" panose="020B0604020202020204" pitchFamily="34" charset="0"/>
              <a:buChar char="•"/>
            </a:pPr>
            <a:r>
              <a:rPr lang="en-US" dirty="0"/>
              <a:t>Kastle</a:t>
            </a:r>
          </a:p>
          <a:p>
            <a:pPr marL="285750" indent="-285750">
              <a:buFont typeface="Arial" panose="020B0604020202020204" pitchFamily="34" charset="0"/>
              <a:buChar char="•"/>
            </a:pPr>
            <a:r>
              <a:rPr lang="en-US" dirty="0"/>
              <a:t>Cynthia</a:t>
            </a:r>
          </a:p>
          <a:p>
            <a:pPr marL="285750" indent="-285750">
              <a:buFont typeface="Arial" panose="020B0604020202020204" pitchFamily="34" charset="0"/>
              <a:buChar char="•"/>
            </a:pPr>
            <a:r>
              <a:rPr lang="en-US" dirty="0"/>
              <a:t>Shanna</a:t>
            </a:r>
          </a:p>
          <a:p>
            <a:pPr marL="285750" indent="-285750">
              <a:buFont typeface="Arial" panose="020B0604020202020204" pitchFamily="34" charset="0"/>
              <a:buChar char="•"/>
            </a:pPr>
            <a:r>
              <a:rPr lang="en-US" dirty="0"/>
              <a:t>Brooke</a:t>
            </a:r>
          </a:p>
          <a:p>
            <a:pPr marL="285750" indent="-285750">
              <a:buFont typeface="Arial" panose="020B0604020202020204" pitchFamily="34" charset="0"/>
              <a:buChar char="•"/>
            </a:pPr>
            <a:r>
              <a:rPr lang="en-US" dirty="0"/>
              <a:t>Patrick</a:t>
            </a:r>
          </a:p>
          <a:p>
            <a:pPr marL="285750" indent="-285750">
              <a:buFont typeface="Arial" panose="020B0604020202020204" pitchFamily="34" charset="0"/>
              <a:buChar char="•"/>
            </a:pPr>
            <a:r>
              <a:rPr lang="en-US" dirty="0"/>
              <a:t>Johan</a:t>
            </a:r>
          </a:p>
          <a:p>
            <a:pPr marL="285750" indent="-285750">
              <a:buFont typeface="Arial" panose="020B0604020202020204" pitchFamily="34" charset="0"/>
              <a:buChar char="•"/>
            </a:pPr>
            <a:r>
              <a:rPr lang="en-US" dirty="0"/>
              <a:t>Aimee</a:t>
            </a:r>
          </a:p>
          <a:p>
            <a:pPr marL="285750" indent="-285750">
              <a:buFont typeface="Arial" panose="020B0604020202020204" pitchFamily="34" charset="0"/>
              <a:buChar char="•"/>
            </a:pPr>
            <a:r>
              <a:rPr lang="en-US" dirty="0"/>
              <a:t>Paul</a:t>
            </a:r>
          </a:p>
          <a:p>
            <a:pPr marL="285750" indent="-285750">
              <a:buFont typeface="Arial" panose="020B0604020202020204" pitchFamily="34" charset="0"/>
              <a:buChar char="•"/>
            </a:pPr>
            <a:r>
              <a:rPr lang="en-US" dirty="0"/>
              <a:t>Danyelle</a:t>
            </a:r>
          </a:p>
        </p:txBody>
      </p:sp>
      <p:sp>
        <p:nvSpPr>
          <p:cNvPr id="37" name="TextBox 36">
            <a:extLst>
              <a:ext uri="{FF2B5EF4-FFF2-40B4-BE49-F238E27FC236}">
                <a16:creationId xmlns:a16="http://schemas.microsoft.com/office/drawing/2014/main" id="{CEFF45CD-EB21-4E86-BA2B-157E5DCD1415}"/>
              </a:ext>
            </a:extLst>
          </p:cNvPr>
          <p:cNvSpPr txBox="1"/>
          <p:nvPr/>
        </p:nvSpPr>
        <p:spPr>
          <a:xfrm>
            <a:off x="6144845" y="1567146"/>
            <a:ext cx="1813293" cy="646331"/>
          </a:xfrm>
          <a:prstGeom prst="rect">
            <a:avLst/>
          </a:prstGeom>
          <a:noFill/>
        </p:spPr>
        <p:txBody>
          <a:bodyPr wrap="square" rtlCol="0">
            <a:spAutoFit/>
          </a:bodyPr>
          <a:lstStyle/>
          <a:p>
            <a:r>
              <a:rPr lang="en-US" dirty="0" err="1"/>
              <a:t>Albinas</a:t>
            </a:r>
            <a:r>
              <a:rPr lang="en-US" dirty="0"/>
              <a:t> Italian American Bakery</a:t>
            </a:r>
            <a:endParaRPr lang="en-US" altLang="zh-CN" dirty="0"/>
          </a:p>
        </p:txBody>
      </p:sp>
      <p:sp>
        <p:nvSpPr>
          <p:cNvPr id="38" name="Rectangle 37">
            <a:extLst>
              <a:ext uri="{FF2B5EF4-FFF2-40B4-BE49-F238E27FC236}">
                <a16:creationId xmlns:a16="http://schemas.microsoft.com/office/drawing/2014/main" id="{0516CE6E-FD79-4887-8645-71C2CD2824AA}"/>
              </a:ext>
            </a:extLst>
          </p:cNvPr>
          <p:cNvSpPr/>
          <p:nvPr/>
        </p:nvSpPr>
        <p:spPr>
          <a:xfrm>
            <a:off x="5408756" y="1302275"/>
            <a:ext cx="2853325" cy="460674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4" name="Group 43">
            <a:extLst>
              <a:ext uri="{FF2B5EF4-FFF2-40B4-BE49-F238E27FC236}">
                <a16:creationId xmlns:a16="http://schemas.microsoft.com/office/drawing/2014/main" id="{E6DA016B-DC34-4AB9-9A3E-445111EEDA90}"/>
              </a:ext>
            </a:extLst>
          </p:cNvPr>
          <p:cNvGrpSpPr/>
          <p:nvPr/>
        </p:nvGrpSpPr>
        <p:grpSpPr>
          <a:xfrm>
            <a:off x="5593685" y="1610205"/>
            <a:ext cx="388897" cy="492124"/>
            <a:chOff x="8204317" y="3973834"/>
            <a:chExt cx="464344" cy="465138"/>
          </a:xfrm>
          <a:solidFill>
            <a:srgbClr val="C00000"/>
          </a:solidFill>
        </p:grpSpPr>
        <p:sp>
          <p:nvSpPr>
            <p:cNvPr id="49" name="AutoShape 33">
              <a:extLst>
                <a:ext uri="{FF2B5EF4-FFF2-40B4-BE49-F238E27FC236}">
                  <a16:creationId xmlns:a16="http://schemas.microsoft.com/office/drawing/2014/main" id="{9110C8C6-67A9-4F1C-B783-86B7309AB0A5}"/>
                </a:ext>
              </a:extLst>
            </p:cNvPr>
            <p:cNvSpPr>
              <a:spLocks/>
            </p:cNvSpPr>
            <p:nvPr/>
          </p:nvSpPr>
          <p:spPr bwMode="auto">
            <a:xfrm>
              <a:off x="8204317" y="4148459"/>
              <a:ext cx="464344" cy="290513"/>
            </a:xfrm>
            <a:custGeom>
              <a:avLst/>
              <a:gdLst>
                <a:gd name="T0" fmla="*/ 10752 w 21505"/>
                <a:gd name="T1" fmla="*/ 10800 h 21600"/>
                <a:gd name="T2" fmla="*/ 10752 w 21505"/>
                <a:gd name="T3" fmla="*/ 10800 h 21600"/>
                <a:gd name="T4" fmla="*/ 10752 w 21505"/>
                <a:gd name="T5" fmla="*/ 10800 h 21600"/>
                <a:gd name="T6" fmla="*/ 10752 w 21505"/>
                <a:gd name="T7" fmla="*/ 10800 h 21600"/>
              </a:gdLst>
              <a:ahLst/>
              <a:cxnLst>
                <a:cxn ang="0">
                  <a:pos x="T0" y="T1"/>
                </a:cxn>
                <a:cxn ang="0">
                  <a:pos x="T2" y="T3"/>
                </a:cxn>
                <a:cxn ang="0">
                  <a:pos x="T4" y="T5"/>
                </a:cxn>
                <a:cxn ang="0">
                  <a:pos x="T6" y="T7"/>
                </a:cxn>
              </a:cxnLst>
              <a:rect l="0" t="0" r="r" b="b"/>
              <a:pathLst>
                <a:path w="21505" h="21600">
                  <a:moveTo>
                    <a:pt x="17472" y="17279"/>
                  </a:moveTo>
                  <a:lnTo>
                    <a:pt x="17472" y="18899"/>
                  </a:lnTo>
                  <a:cubicBezTo>
                    <a:pt x="17472" y="19198"/>
                    <a:pt x="17321" y="19439"/>
                    <a:pt x="17136" y="19439"/>
                  </a:cubicBezTo>
                  <a:lnTo>
                    <a:pt x="4368" y="19439"/>
                  </a:lnTo>
                  <a:cubicBezTo>
                    <a:pt x="4182" y="19439"/>
                    <a:pt x="4032" y="19198"/>
                    <a:pt x="4032" y="18899"/>
                  </a:cubicBezTo>
                  <a:lnTo>
                    <a:pt x="4032" y="17279"/>
                  </a:lnTo>
                  <a:lnTo>
                    <a:pt x="1344" y="12419"/>
                  </a:lnTo>
                  <a:cubicBezTo>
                    <a:pt x="1344" y="12121"/>
                    <a:pt x="1494" y="11879"/>
                    <a:pt x="1680" y="11879"/>
                  </a:cubicBezTo>
                  <a:lnTo>
                    <a:pt x="3360" y="11879"/>
                  </a:lnTo>
                  <a:lnTo>
                    <a:pt x="4032" y="11879"/>
                  </a:lnTo>
                  <a:lnTo>
                    <a:pt x="4704" y="11879"/>
                  </a:lnTo>
                  <a:lnTo>
                    <a:pt x="5376" y="11879"/>
                  </a:lnTo>
                  <a:lnTo>
                    <a:pt x="6048" y="11879"/>
                  </a:lnTo>
                  <a:lnTo>
                    <a:pt x="6720" y="11879"/>
                  </a:lnTo>
                  <a:lnTo>
                    <a:pt x="7392" y="11879"/>
                  </a:lnTo>
                  <a:lnTo>
                    <a:pt x="8064" y="11879"/>
                  </a:lnTo>
                  <a:lnTo>
                    <a:pt x="8736" y="11879"/>
                  </a:lnTo>
                  <a:lnTo>
                    <a:pt x="12768" y="11879"/>
                  </a:lnTo>
                  <a:lnTo>
                    <a:pt x="13440" y="11879"/>
                  </a:lnTo>
                  <a:lnTo>
                    <a:pt x="14112" y="11879"/>
                  </a:lnTo>
                  <a:lnTo>
                    <a:pt x="14784" y="11879"/>
                  </a:lnTo>
                  <a:lnTo>
                    <a:pt x="15456" y="11879"/>
                  </a:lnTo>
                  <a:lnTo>
                    <a:pt x="16128" y="11879"/>
                  </a:lnTo>
                  <a:lnTo>
                    <a:pt x="16800" y="11879"/>
                  </a:lnTo>
                  <a:lnTo>
                    <a:pt x="17472" y="11879"/>
                  </a:lnTo>
                  <a:lnTo>
                    <a:pt x="18144" y="11879"/>
                  </a:lnTo>
                  <a:lnTo>
                    <a:pt x="19824" y="11879"/>
                  </a:lnTo>
                  <a:cubicBezTo>
                    <a:pt x="20009" y="11879"/>
                    <a:pt x="20160" y="12121"/>
                    <a:pt x="20160" y="12419"/>
                  </a:cubicBezTo>
                  <a:cubicBezTo>
                    <a:pt x="20160" y="12419"/>
                    <a:pt x="17472" y="17279"/>
                    <a:pt x="17472" y="17279"/>
                  </a:cubicBezTo>
                  <a:close/>
                  <a:moveTo>
                    <a:pt x="10752" y="4320"/>
                  </a:moveTo>
                  <a:cubicBezTo>
                    <a:pt x="8625" y="4320"/>
                    <a:pt x="6826" y="6601"/>
                    <a:pt x="6246" y="9719"/>
                  </a:cubicBezTo>
                  <a:lnTo>
                    <a:pt x="5552" y="9719"/>
                  </a:lnTo>
                  <a:cubicBezTo>
                    <a:pt x="6152" y="6000"/>
                    <a:pt x="8252" y="3239"/>
                    <a:pt x="10752" y="3239"/>
                  </a:cubicBezTo>
                  <a:cubicBezTo>
                    <a:pt x="12934" y="3239"/>
                    <a:pt x="14813" y="5344"/>
                    <a:pt x="15654" y="8353"/>
                  </a:cubicBezTo>
                  <a:lnTo>
                    <a:pt x="15054" y="8835"/>
                  </a:lnTo>
                  <a:cubicBezTo>
                    <a:pt x="14323" y="6180"/>
                    <a:pt x="12671" y="4320"/>
                    <a:pt x="10752" y="4320"/>
                  </a:cubicBezTo>
                  <a:moveTo>
                    <a:pt x="10752" y="8639"/>
                  </a:moveTo>
                  <a:cubicBezTo>
                    <a:pt x="10158" y="8639"/>
                    <a:pt x="9630" y="9061"/>
                    <a:pt x="9260" y="9719"/>
                  </a:cubicBezTo>
                  <a:lnTo>
                    <a:pt x="8437" y="9719"/>
                  </a:lnTo>
                  <a:cubicBezTo>
                    <a:pt x="8904" y="8435"/>
                    <a:pt x="9761" y="7560"/>
                    <a:pt x="10752" y="7560"/>
                  </a:cubicBezTo>
                  <a:cubicBezTo>
                    <a:pt x="11742" y="7560"/>
                    <a:pt x="12600" y="8435"/>
                    <a:pt x="13066" y="9719"/>
                  </a:cubicBezTo>
                  <a:lnTo>
                    <a:pt x="12244" y="9719"/>
                  </a:lnTo>
                  <a:cubicBezTo>
                    <a:pt x="11874" y="9061"/>
                    <a:pt x="11345" y="8639"/>
                    <a:pt x="10752" y="8639"/>
                  </a:cubicBezTo>
                  <a:moveTo>
                    <a:pt x="13827" y="9719"/>
                  </a:moveTo>
                  <a:cubicBezTo>
                    <a:pt x="13307" y="7816"/>
                    <a:pt x="12126" y="6479"/>
                    <a:pt x="10752" y="6479"/>
                  </a:cubicBezTo>
                  <a:cubicBezTo>
                    <a:pt x="9378" y="6479"/>
                    <a:pt x="8197" y="7816"/>
                    <a:pt x="7676" y="9719"/>
                  </a:cubicBezTo>
                  <a:lnTo>
                    <a:pt x="6955" y="9719"/>
                  </a:lnTo>
                  <a:cubicBezTo>
                    <a:pt x="7510" y="7207"/>
                    <a:pt x="9001" y="5400"/>
                    <a:pt x="10752" y="5400"/>
                  </a:cubicBezTo>
                  <a:cubicBezTo>
                    <a:pt x="12409" y="5400"/>
                    <a:pt x="13834" y="7015"/>
                    <a:pt x="14454" y="9317"/>
                  </a:cubicBezTo>
                  <a:lnTo>
                    <a:pt x="13953" y="9719"/>
                  </a:lnTo>
                  <a:cubicBezTo>
                    <a:pt x="13953" y="9719"/>
                    <a:pt x="13827" y="9719"/>
                    <a:pt x="13827" y="9719"/>
                  </a:cubicBezTo>
                  <a:close/>
                  <a:moveTo>
                    <a:pt x="10752" y="1080"/>
                  </a:moveTo>
                  <a:cubicBezTo>
                    <a:pt x="13459" y="1080"/>
                    <a:pt x="15792" y="3672"/>
                    <a:pt x="16856" y="7388"/>
                  </a:cubicBezTo>
                  <a:lnTo>
                    <a:pt x="16256" y="7869"/>
                  </a:lnTo>
                  <a:cubicBezTo>
                    <a:pt x="15305" y="4504"/>
                    <a:pt x="13201" y="2160"/>
                    <a:pt x="10752" y="2160"/>
                  </a:cubicBezTo>
                  <a:cubicBezTo>
                    <a:pt x="7874" y="2160"/>
                    <a:pt x="5470" y="5392"/>
                    <a:pt x="4858" y="9719"/>
                  </a:cubicBezTo>
                  <a:lnTo>
                    <a:pt x="4167" y="9719"/>
                  </a:lnTo>
                  <a:cubicBezTo>
                    <a:pt x="4792" y="4796"/>
                    <a:pt x="7507" y="1080"/>
                    <a:pt x="10752" y="1080"/>
                  </a:cubicBezTo>
                  <a:moveTo>
                    <a:pt x="17336" y="9719"/>
                  </a:moveTo>
                  <a:lnTo>
                    <a:pt x="16958" y="9719"/>
                  </a:lnTo>
                  <a:lnTo>
                    <a:pt x="17294" y="9449"/>
                  </a:lnTo>
                  <a:cubicBezTo>
                    <a:pt x="17307" y="9540"/>
                    <a:pt x="17325" y="9628"/>
                    <a:pt x="17336" y="9719"/>
                  </a:cubicBezTo>
                  <a:moveTo>
                    <a:pt x="19824" y="9719"/>
                  </a:moveTo>
                  <a:lnTo>
                    <a:pt x="18016" y="9719"/>
                  </a:lnTo>
                  <a:cubicBezTo>
                    <a:pt x="17986" y="9461"/>
                    <a:pt x="17948" y="9209"/>
                    <a:pt x="17908" y="8957"/>
                  </a:cubicBezTo>
                  <a:lnTo>
                    <a:pt x="21132" y="6366"/>
                  </a:lnTo>
                  <a:cubicBezTo>
                    <a:pt x="21464" y="6099"/>
                    <a:pt x="21599" y="5450"/>
                    <a:pt x="21433" y="4916"/>
                  </a:cubicBezTo>
                  <a:cubicBezTo>
                    <a:pt x="21267" y="4383"/>
                    <a:pt x="20864" y="4169"/>
                    <a:pt x="20532" y="4433"/>
                  </a:cubicBezTo>
                  <a:lnTo>
                    <a:pt x="17456" y="6905"/>
                  </a:lnTo>
                  <a:cubicBezTo>
                    <a:pt x="16282" y="2836"/>
                    <a:pt x="13721" y="0"/>
                    <a:pt x="10752" y="0"/>
                  </a:cubicBezTo>
                  <a:cubicBezTo>
                    <a:pt x="7135" y="0"/>
                    <a:pt x="4122" y="4198"/>
                    <a:pt x="3488" y="9719"/>
                  </a:cubicBezTo>
                  <a:lnTo>
                    <a:pt x="1680" y="9719"/>
                  </a:lnTo>
                  <a:cubicBezTo>
                    <a:pt x="754" y="9719"/>
                    <a:pt x="0" y="10930"/>
                    <a:pt x="0" y="12419"/>
                  </a:cubicBezTo>
                  <a:cubicBezTo>
                    <a:pt x="0" y="12949"/>
                    <a:pt x="121" y="13459"/>
                    <a:pt x="339" y="13855"/>
                  </a:cubicBezTo>
                  <a:lnTo>
                    <a:pt x="2688" y="18101"/>
                  </a:lnTo>
                  <a:lnTo>
                    <a:pt x="2688" y="18899"/>
                  </a:lnTo>
                  <a:cubicBezTo>
                    <a:pt x="2688" y="20389"/>
                    <a:pt x="3442" y="21599"/>
                    <a:pt x="4368" y="21599"/>
                  </a:cubicBezTo>
                  <a:lnTo>
                    <a:pt x="17136" y="21599"/>
                  </a:lnTo>
                  <a:cubicBezTo>
                    <a:pt x="18062" y="21599"/>
                    <a:pt x="18816" y="20389"/>
                    <a:pt x="18816" y="18899"/>
                  </a:cubicBezTo>
                  <a:lnTo>
                    <a:pt x="18816" y="18101"/>
                  </a:lnTo>
                  <a:lnTo>
                    <a:pt x="21165" y="13855"/>
                  </a:lnTo>
                  <a:cubicBezTo>
                    <a:pt x="21383" y="13459"/>
                    <a:pt x="21504" y="12949"/>
                    <a:pt x="21504" y="12419"/>
                  </a:cubicBezTo>
                  <a:cubicBezTo>
                    <a:pt x="21504" y="10930"/>
                    <a:pt x="20750" y="9719"/>
                    <a:pt x="19824" y="9719"/>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50" name="AutoShape 34">
              <a:extLst>
                <a:ext uri="{FF2B5EF4-FFF2-40B4-BE49-F238E27FC236}">
                  <a16:creationId xmlns:a16="http://schemas.microsoft.com/office/drawing/2014/main" id="{8FD496F0-7B19-4D0C-BAA8-F05DE3A70582}"/>
                </a:ext>
              </a:extLst>
            </p:cNvPr>
            <p:cNvSpPr>
              <a:spLocks/>
            </p:cNvSpPr>
            <p:nvPr/>
          </p:nvSpPr>
          <p:spPr bwMode="auto">
            <a:xfrm>
              <a:off x="8320204" y="4032572"/>
              <a:ext cx="33338" cy="108744"/>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47"/>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6"/>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1"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51" name="AutoShape 35">
              <a:extLst>
                <a:ext uri="{FF2B5EF4-FFF2-40B4-BE49-F238E27FC236}">
                  <a16:creationId xmlns:a16="http://schemas.microsoft.com/office/drawing/2014/main" id="{10B2A8F5-63E3-4568-8F00-C4CD6D039640}"/>
                </a:ext>
              </a:extLst>
            </p:cNvPr>
            <p:cNvSpPr>
              <a:spLocks/>
            </p:cNvSpPr>
            <p:nvPr/>
          </p:nvSpPr>
          <p:spPr bwMode="auto">
            <a:xfrm>
              <a:off x="8494829" y="4032572"/>
              <a:ext cx="32544" cy="108744"/>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50"/>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6"/>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1"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53" name="AutoShape 36">
              <a:extLst>
                <a:ext uri="{FF2B5EF4-FFF2-40B4-BE49-F238E27FC236}">
                  <a16:creationId xmlns:a16="http://schemas.microsoft.com/office/drawing/2014/main" id="{3ED7F2F7-B1A7-4495-8AA5-447257C719CB}"/>
                </a:ext>
              </a:extLst>
            </p:cNvPr>
            <p:cNvSpPr>
              <a:spLocks/>
            </p:cNvSpPr>
            <p:nvPr/>
          </p:nvSpPr>
          <p:spPr bwMode="auto">
            <a:xfrm>
              <a:off x="8421804" y="3973834"/>
              <a:ext cx="33338" cy="109538"/>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50"/>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9"/>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5"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spTree>
    <p:extLst>
      <p:ext uri="{BB962C8B-B14F-4D97-AF65-F5344CB8AC3E}">
        <p14:creationId xmlns:p14="http://schemas.microsoft.com/office/powerpoint/2010/main" val="165462115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0-#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50" name="Rectangle 52">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itle 7">
            <a:extLst>
              <a:ext uri="{FF2B5EF4-FFF2-40B4-BE49-F238E27FC236}">
                <a16:creationId xmlns:a16="http://schemas.microsoft.com/office/drawing/2014/main" id="{FFA0CFB1-E0F1-4F6C-AA33-F0A93101B7DD}"/>
              </a:ext>
            </a:extLst>
          </p:cNvPr>
          <p:cNvSpPr txBox="1">
            <a:spLocks/>
          </p:cNvSpPr>
          <p:nvPr/>
        </p:nvSpPr>
        <p:spPr>
          <a:xfrm>
            <a:off x="640080" y="2074363"/>
            <a:ext cx="2752354" cy="27092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w="174625" cmpd="thinThick">
            <a:solidFill>
              <a:srgbClr val="C00000"/>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pPr algn="ctr">
              <a:spcAft>
                <a:spcPts val="600"/>
              </a:spcAft>
            </a:pPr>
            <a:endParaRPr lang="en-US" sz="2600" b="1" kern="1200" spc="0" dirty="0">
              <a:solidFill>
                <a:schemeClr val="bg1"/>
              </a:solidFill>
              <a:latin typeface="Segoe UI Light" panose="020B0502040204020203" pitchFamily="34" charset="0"/>
              <a:cs typeface="Segoe UI Light" panose="020B0502040204020203" pitchFamily="34" charset="0"/>
            </a:endParaRPr>
          </a:p>
        </p:txBody>
      </p:sp>
      <p:pic>
        <p:nvPicPr>
          <p:cNvPr id="3" name="Picture 2" descr="A screenshot of a cell phone&#10;&#10;Description automatically generated">
            <a:extLst>
              <a:ext uri="{FF2B5EF4-FFF2-40B4-BE49-F238E27FC236}">
                <a16:creationId xmlns:a16="http://schemas.microsoft.com/office/drawing/2014/main" id="{A5FD4ECB-01E1-416B-B7BB-CCFF32D92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6633" y="623616"/>
            <a:ext cx="8009760" cy="5787050"/>
          </a:xfrm>
          <a:prstGeom prst="rect">
            <a:avLst/>
          </a:prstGeom>
        </p:spPr>
      </p:pic>
      <p:sp>
        <p:nvSpPr>
          <p:cNvPr id="4" name="TextBox 3">
            <a:extLst>
              <a:ext uri="{FF2B5EF4-FFF2-40B4-BE49-F238E27FC236}">
                <a16:creationId xmlns:a16="http://schemas.microsoft.com/office/drawing/2014/main" id="{027A9438-5BC2-4027-B9A1-6604EAD6E064}"/>
              </a:ext>
            </a:extLst>
          </p:cNvPr>
          <p:cNvSpPr txBox="1"/>
          <p:nvPr/>
        </p:nvSpPr>
        <p:spPr>
          <a:xfrm>
            <a:off x="2464643" y="4875681"/>
            <a:ext cx="3864077" cy="1708160"/>
          </a:xfrm>
          <a:prstGeom prst="rect">
            <a:avLst/>
          </a:prstGeom>
          <a:noFill/>
        </p:spPr>
        <p:txBody>
          <a:bodyPr wrap="square" rtlCol="0">
            <a:spAutoFit/>
          </a:bodyPr>
          <a:lstStyle/>
          <a:p>
            <a:pPr marL="285750" lvl="0" indent="-285750" algn="just" fontAlgn="base">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Each node represents a friend (grey) of a user and a restaurant (red)</a:t>
            </a:r>
          </a:p>
          <a:p>
            <a:pPr marL="285750" lvl="0" indent="-285750" algn="just" fontAlgn="base">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The larger the red nodes the more reviews from friends</a:t>
            </a:r>
          </a:p>
          <a:p>
            <a:pPr marL="285750" lvl="0" indent="-285750" algn="just" fontAlgn="base">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This graphic shows 4 and 5*s ratings from Mexican restaurants for one user who has ~200 friends</a:t>
            </a:r>
          </a:p>
        </p:txBody>
      </p:sp>
      <p:sp>
        <p:nvSpPr>
          <p:cNvPr id="5" name="Rectangle 4">
            <a:extLst>
              <a:ext uri="{FF2B5EF4-FFF2-40B4-BE49-F238E27FC236}">
                <a16:creationId xmlns:a16="http://schemas.microsoft.com/office/drawing/2014/main" id="{29441180-555F-4DD0-BE4D-C52E94C84A8E}"/>
              </a:ext>
            </a:extLst>
          </p:cNvPr>
          <p:cNvSpPr/>
          <p:nvPr/>
        </p:nvSpPr>
        <p:spPr>
          <a:xfrm>
            <a:off x="2512820" y="1002937"/>
            <a:ext cx="3767721" cy="1246495"/>
          </a:xfrm>
          <a:prstGeom prst="rect">
            <a:avLst/>
          </a:prstGeom>
        </p:spPr>
        <p:txBody>
          <a:bodyPr wrap="square">
            <a:spAutoFit/>
          </a:bodyPr>
          <a:lstStyle/>
          <a:p>
            <a:pPr marL="285750" lvl="0" indent="-285750" algn="just" fontAlgn="base">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Here we can filter on a restaurant category and stars review</a:t>
            </a:r>
          </a:p>
          <a:p>
            <a:pPr marL="285750" lvl="0" indent="-285750" algn="just" fontAlgn="base">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This allows the user to have a visual representation of popular restaurants among your friends</a:t>
            </a:r>
          </a:p>
        </p:txBody>
      </p:sp>
      <p:sp>
        <p:nvSpPr>
          <p:cNvPr id="14" name="Title 7">
            <a:extLst>
              <a:ext uri="{FF2B5EF4-FFF2-40B4-BE49-F238E27FC236}">
                <a16:creationId xmlns:a16="http://schemas.microsoft.com/office/drawing/2014/main" id="{A03B43B2-14A7-44F6-83A8-15B16C0E3704}"/>
              </a:ext>
            </a:extLst>
          </p:cNvPr>
          <p:cNvSpPr txBox="1">
            <a:spLocks/>
          </p:cNvSpPr>
          <p:nvPr/>
        </p:nvSpPr>
        <p:spPr>
          <a:xfrm>
            <a:off x="2024992" y="377554"/>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Graphs</a:t>
            </a:r>
            <a:endParaRPr lang="id-ID" sz="4000" spc="0" dirty="0">
              <a:latin typeface="Aller" panose="020B0503030302020204" pitchFamily="34" charset="0"/>
            </a:endParaRPr>
          </a:p>
        </p:txBody>
      </p:sp>
    </p:spTree>
    <p:extLst>
      <p:ext uri="{BB962C8B-B14F-4D97-AF65-F5344CB8AC3E}">
        <p14:creationId xmlns:p14="http://schemas.microsoft.com/office/powerpoint/2010/main" val="300013278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1000" fill="hold"/>
                                        <p:tgtEl>
                                          <p:spTgt spid="48"/>
                                        </p:tgtEl>
                                        <p:attrNameLst>
                                          <p:attrName>ppt_x</p:attrName>
                                        </p:attrNameLst>
                                      </p:cBhvr>
                                      <p:tavLst>
                                        <p:tav tm="0">
                                          <p:val>
                                            <p:strVal val="0-#ppt_w/2"/>
                                          </p:val>
                                        </p:tav>
                                        <p:tav tm="100000">
                                          <p:val>
                                            <p:strVal val="#ppt_x"/>
                                          </p:val>
                                        </p:tav>
                                      </p:tavLst>
                                    </p:anim>
                                    <p:anim calcmode="lin" valueType="num">
                                      <p:cBhvr additive="base">
                                        <p:cTn id="8" dur="10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000" fill="hold"/>
                                        <p:tgtEl>
                                          <p:spTgt spid="14"/>
                                        </p:tgtEl>
                                        <p:attrNameLst>
                                          <p:attrName>ppt_x</p:attrName>
                                        </p:attrNameLst>
                                      </p:cBhvr>
                                      <p:tavLst>
                                        <p:tav tm="0">
                                          <p:val>
                                            <p:strVal val="0-#ppt_w/2"/>
                                          </p:val>
                                        </p:tav>
                                        <p:tav tm="100000">
                                          <p:val>
                                            <p:strVal val="#ppt_x"/>
                                          </p:val>
                                        </p:tav>
                                      </p:tavLst>
                                    </p:anim>
                                    <p:anim calcmode="lin" valueType="num">
                                      <p:cBhvr additive="base">
                                        <p:cTn id="1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person, indoor, table, window&#10;&#10;Description automatically generated">
            <a:extLst>
              <a:ext uri="{FF2B5EF4-FFF2-40B4-BE49-F238E27FC236}">
                <a16:creationId xmlns:a16="http://schemas.microsoft.com/office/drawing/2014/main" id="{E612B1DC-4F36-4F1B-9BBA-E3C220FFA3B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18884" r="18880" b="-1"/>
          <a:stretch/>
        </p:blipFill>
        <p:spPr>
          <a:xfrm>
            <a:off x="5797543" y="10"/>
            <a:ext cx="6394152" cy="6857990"/>
          </a:xfrm>
          <a:prstGeom prst="rect">
            <a:avLst/>
          </a:prstGeom>
        </p:spPr>
      </p:pic>
      <p:pic>
        <p:nvPicPr>
          <p:cNvPr id="60" name="Picture 59">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8" name="Title 55">
            <a:extLst>
              <a:ext uri="{FF2B5EF4-FFF2-40B4-BE49-F238E27FC236}">
                <a16:creationId xmlns:a16="http://schemas.microsoft.com/office/drawing/2014/main" id="{E192EE0A-3346-4E4D-85A3-A061CE15194B}"/>
              </a:ext>
            </a:extLst>
          </p:cNvPr>
          <p:cNvSpPr txBox="1">
            <a:spLocks/>
          </p:cNvSpPr>
          <p:nvPr/>
        </p:nvSpPr>
        <p:spPr>
          <a:xfrm>
            <a:off x="804998" y="798445"/>
            <a:ext cx="4803636" cy="13116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0">
                <a:solidFill>
                  <a:schemeClr val="tx1">
                    <a:lumMod val="65000"/>
                    <a:lumOff val="35000"/>
                  </a:schemeClr>
                </a:solidFill>
                <a:latin typeface="Aller" panose="020B0503030302020204" pitchFamily="34" charset="0"/>
                <a:ea typeface="+mj-ea"/>
                <a:cs typeface="+mj-cs"/>
              </a:defRPr>
            </a:lvl1pPr>
          </a:lstStyle>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a:p>
            <a:pPr>
              <a:spcAft>
                <a:spcPts val="600"/>
              </a:spcAft>
            </a:pPr>
            <a:endParaRPr lang="en-US" sz="4400" dirty="0">
              <a:solidFill>
                <a:srgbClr val="000000"/>
              </a:solidFill>
              <a:latin typeface="+mj-lt"/>
            </a:endParaRPr>
          </a:p>
        </p:txBody>
      </p:sp>
      <p:sp>
        <p:nvSpPr>
          <p:cNvPr id="31" name="TextBox 30">
            <a:extLst>
              <a:ext uri="{FF2B5EF4-FFF2-40B4-BE49-F238E27FC236}">
                <a16:creationId xmlns:a16="http://schemas.microsoft.com/office/drawing/2014/main" id="{1E527F43-7FDA-4DCE-87B2-974FF0839465}"/>
              </a:ext>
            </a:extLst>
          </p:cNvPr>
          <p:cNvSpPr txBox="1"/>
          <p:nvPr/>
        </p:nvSpPr>
        <p:spPr>
          <a:xfrm>
            <a:off x="953380" y="1694089"/>
            <a:ext cx="4803636" cy="1451616"/>
          </a:xfrm>
          <a:prstGeom prst="rect">
            <a:avLst/>
          </a:prstGeom>
          <a:noFill/>
        </p:spPr>
        <p:txBody>
          <a:bodyPr wrap="square" rtlCol="0">
            <a:spAutoFit/>
          </a:bodyPr>
          <a:lstStyle>
            <a:defPPr>
              <a:defRPr lang="id-ID"/>
            </a:defPPr>
            <a:lvl1pPr algn="ctr">
              <a:lnSpc>
                <a:spcPct val="120000"/>
              </a:lnSpc>
              <a:defRPr sz="1200">
                <a:solidFill>
                  <a:schemeClr val="tx1">
                    <a:lumMod val="65000"/>
                    <a:lumOff val="35000"/>
                  </a:schemeClr>
                </a:solidFill>
                <a:latin typeface="Segoe UI" panose="020B0502040204020203" pitchFamily="34" charset="0"/>
                <a:cs typeface="Segoe UI" panose="020B0502040204020203" pitchFamily="34" charset="0"/>
              </a:defRPr>
            </a:lvl1pPr>
          </a:lstStyle>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Resources limitations - RCC and Google Cloud (we end had to limit the amount of data to be able to run the models)</a:t>
            </a:r>
          </a:p>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Package limitations with RCC</a:t>
            </a:r>
          </a:p>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Visualization limitations with </a:t>
            </a:r>
            <a:r>
              <a:rPr lang="en-US" sz="1500" dirty="0" err="1">
                <a:solidFill>
                  <a:schemeClr val="tx1">
                    <a:lumMod val="50000"/>
                    <a:lumOff val="50000"/>
                  </a:schemeClr>
                </a:solidFill>
                <a:latin typeface="Segoe UI Light" panose="020B0502040204020203" pitchFamily="34" charset="0"/>
                <a:cs typeface="Segoe UI Light" panose="020B0502040204020203" pitchFamily="34" charset="0"/>
              </a:rPr>
              <a:t>PySpark</a:t>
            </a:r>
            <a:endParaRPr lang="en-US" sz="15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7" name="Title 7">
            <a:extLst>
              <a:ext uri="{FF2B5EF4-FFF2-40B4-BE49-F238E27FC236}">
                <a16:creationId xmlns:a16="http://schemas.microsoft.com/office/drawing/2014/main" id="{A7B2CED5-ECE7-4D1F-B69C-03251403B421}"/>
              </a:ext>
            </a:extLst>
          </p:cNvPr>
          <p:cNvSpPr txBox="1">
            <a:spLocks/>
          </p:cNvSpPr>
          <p:nvPr/>
        </p:nvSpPr>
        <p:spPr>
          <a:xfrm>
            <a:off x="628018" y="640894"/>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Work Limitations &amp; </a:t>
            </a:r>
          </a:p>
          <a:p>
            <a:r>
              <a:rPr lang="en-US" sz="4000" spc="0" dirty="0">
                <a:latin typeface="Aller" panose="020B0503030302020204" pitchFamily="34" charset="0"/>
              </a:rPr>
              <a:t>	Future Work</a:t>
            </a:r>
            <a:endParaRPr lang="id-ID" sz="4000" spc="0" dirty="0">
              <a:latin typeface="Aller" panose="020B0503030302020204" pitchFamily="34" charset="0"/>
            </a:endParaRPr>
          </a:p>
        </p:txBody>
      </p:sp>
      <p:sp>
        <p:nvSpPr>
          <p:cNvPr id="8" name="TextBox 7">
            <a:extLst>
              <a:ext uri="{FF2B5EF4-FFF2-40B4-BE49-F238E27FC236}">
                <a16:creationId xmlns:a16="http://schemas.microsoft.com/office/drawing/2014/main" id="{FD70A4CD-71DE-462C-AC59-6654E9A170E9}"/>
              </a:ext>
            </a:extLst>
          </p:cNvPr>
          <p:cNvSpPr txBox="1"/>
          <p:nvPr/>
        </p:nvSpPr>
        <p:spPr>
          <a:xfrm>
            <a:off x="1644430" y="3550300"/>
            <a:ext cx="4132849" cy="2282613"/>
          </a:xfrm>
          <a:prstGeom prst="rect">
            <a:avLst/>
          </a:prstGeom>
          <a:noFill/>
        </p:spPr>
        <p:txBody>
          <a:bodyPr wrap="square" rtlCol="0">
            <a:spAutoFit/>
          </a:bodyPr>
          <a:lstStyle>
            <a:defPPr>
              <a:defRPr lang="id-ID"/>
            </a:defPPr>
            <a:lvl1pPr algn="ctr">
              <a:lnSpc>
                <a:spcPct val="120000"/>
              </a:lnSpc>
              <a:defRPr sz="1200">
                <a:solidFill>
                  <a:schemeClr val="tx1">
                    <a:lumMod val="65000"/>
                    <a:lumOff val="35000"/>
                  </a:schemeClr>
                </a:solidFill>
                <a:latin typeface="Segoe UI" panose="020B0502040204020203" pitchFamily="34" charset="0"/>
                <a:cs typeface="Segoe UI" panose="020B0502040204020203" pitchFamily="34" charset="0"/>
              </a:defRPr>
            </a:lvl1pPr>
          </a:lstStyle>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Further cleaning restaurant categories and better cluster them </a:t>
            </a:r>
          </a:p>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Use Geolocation to give more precise recommendations</a:t>
            </a:r>
          </a:p>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Expand the recommendation to other cities</a:t>
            </a:r>
          </a:p>
          <a:p>
            <a:pPr marL="342900" indent="-34290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Use Page Rank to rank users to give more weight to their reviews</a:t>
            </a:r>
          </a:p>
          <a:p>
            <a:pPr marL="342900" indent="-342900" algn="just">
              <a:buFont typeface="Wingdings" panose="05000000000000000000" pitchFamily="2" charset="2"/>
              <a:buChar char="v"/>
            </a:pPr>
            <a:endParaRPr lang="en-US" sz="15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054436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nodePh="1">
                                  <p:stCondLst>
                                    <p:cond delay="0"/>
                                  </p:stCondLst>
                                  <p:endCondLst>
                                    <p:cond evt="begin" delay="0">
                                      <p:tn val="5"/>
                                    </p:cond>
                                  </p:end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1000" fill="hold"/>
                                        <p:tgtEl>
                                          <p:spTgt spid="28"/>
                                        </p:tgtEl>
                                        <p:attrNameLst>
                                          <p:attrName>ppt_x</p:attrName>
                                        </p:attrNameLst>
                                      </p:cBhvr>
                                      <p:tavLst>
                                        <p:tav tm="0">
                                          <p:val>
                                            <p:strVal val="0-#ppt_w/2"/>
                                          </p:val>
                                        </p:tav>
                                        <p:tav tm="100000">
                                          <p:val>
                                            <p:strVal val="#ppt_x"/>
                                          </p:val>
                                        </p:tav>
                                      </p:tavLst>
                                    </p:anim>
                                    <p:anim calcmode="lin" valueType="num">
                                      <p:cBhvr additive="base">
                                        <p:cTn id="8" dur="1000" fill="hold"/>
                                        <p:tgtEl>
                                          <p:spTgt spid="28"/>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1000"/>
                                  </p:stCondLst>
                                  <p:childTnLst>
                                    <p:set>
                                      <p:cBhvr>
                                        <p:cTn id="10" dur="1" fill="hold">
                                          <p:stCondLst>
                                            <p:cond delay="0"/>
                                          </p:stCondLst>
                                        </p:cTn>
                                        <p:tgtEl>
                                          <p:spTgt spid="31">
                                            <p:txEl>
                                              <p:pRg st="0" end="0"/>
                                            </p:txEl>
                                          </p:spTgt>
                                        </p:tgtEl>
                                        <p:attrNameLst>
                                          <p:attrName>style.visibility</p:attrName>
                                        </p:attrNameLst>
                                      </p:cBhvr>
                                      <p:to>
                                        <p:strVal val="visible"/>
                                      </p:to>
                                    </p:set>
                                    <p:animEffect transition="in" filter="wipe(left)">
                                      <p:cBhvr>
                                        <p:cTn id="11" dur="500"/>
                                        <p:tgtEl>
                                          <p:spTgt spid="31">
                                            <p:txEl>
                                              <p:pRg st="0" end="0"/>
                                            </p:txEl>
                                          </p:spTgt>
                                        </p:tgtEl>
                                      </p:cBhvr>
                                    </p:animEffect>
                                  </p:childTnLst>
                                </p:cTn>
                              </p:par>
                              <p:par>
                                <p:cTn id="12" presetID="22" presetClass="entr" presetSubtype="8" fill="hold" nodeType="withEffect">
                                  <p:stCondLst>
                                    <p:cond delay="1000"/>
                                  </p:stCondLst>
                                  <p:childTnLst>
                                    <p:set>
                                      <p:cBhvr>
                                        <p:cTn id="13" dur="1" fill="hold">
                                          <p:stCondLst>
                                            <p:cond delay="0"/>
                                          </p:stCondLst>
                                        </p:cTn>
                                        <p:tgtEl>
                                          <p:spTgt spid="31">
                                            <p:txEl>
                                              <p:pRg st="1" end="1"/>
                                            </p:txEl>
                                          </p:spTgt>
                                        </p:tgtEl>
                                        <p:attrNameLst>
                                          <p:attrName>style.visibility</p:attrName>
                                        </p:attrNameLst>
                                      </p:cBhvr>
                                      <p:to>
                                        <p:strVal val="visible"/>
                                      </p:to>
                                    </p:set>
                                    <p:animEffect transition="in" filter="wipe(left)">
                                      <p:cBhvr>
                                        <p:cTn id="14" dur="500"/>
                                        <p:tgtEl>
                                          <p:spTgt spid="31">
                                            <p:txEl>
                                              <p:pRg st="1" end="1"/>
                                            </p:txEl>
                                          </p:spTgt>
                                        </p:tgtEl>
                                      </p:cBhvr>
                                    </p:animEffect>
                                  </p:childTnLst>
                                </p:cTn>
                              </p:par>
                              <p:par>
                                <p:cTn id="15" presetID="22" presetClass="entr" presetSubtype="8" fill="hold" nodeType="withEffect">
                                  <p:stCondLst>
                                    <p:cond delay="1000"/>
                                  </p:stCondLst>
                                  <p:childTnLst>
                                    <p:set>
                                      <p:cBhvr>
                                        <p:cTn id="16" dur="1" fill="hold">
                                          <p:stCondLst>
                                            <p:cond delay="0"/>
                                          </p:stCondLst>
                                        </p:cTn>
                                        <p:tgtEl>
                                          <p:spTgt spid="31">
                                            <p:txEl>
                                              <p:pRg st="2" end="2"/>
                                            </p:txEl>
                                          </p:spTgt>
                                        </p:tgtEl>
                                        <p:attrNameLst>
                                          <p:attrName>style.visibility</p:attrName>
                                        </p:attrNameLst>
                                      </p:cBhvr>
                                      <p:to>
                                        <p:strVal val="visible"/>
                                      </p:to>
                                    </p:set>
                                    <p:animEffect transition="in" filter="wipe(left)">
                                      <p:cBhvr>
                                        <p:cTn id="17" dur="500"/>
                                        <p:tgtEl>
                                          <p:spTgt spid="31">
                                            <p:txEl>
                                              <p:pRg st="2" end="2"/>
                                            </p:txEl>
                                          </p:spTgt>
                                        </p:tgtEl>
                                      </p:cBhvr>
                                    </p:animEffect>
                                  </p:childTnLst>
                                </p:cTn>
                              </p:par>
                              <p:par>
                                <p:cTn id="18" presetID="2" presetClass="entr" presetSubtype="8" decel="10000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1000" fill="hold"/>
                                        <p:tgtEl>
                                          <p:spTgt spid="7"/>
                                        </p:tgtEl>
                                        <p:attrNameLst>
                                          <p:attrName>ppt_x</p:attrName>
                                        </p:attrNameLst>
                                      </p:cBhvr>
                                      <p:tavLst>
                                        <p:tav tm="0">
                                          <p:val>
                                            <p:strVal val="0-#ppt_w/2"/>
                                          </p:val>
                                        </p:tav>
                                        <p:tav tm="100000">
                                          <p:val>
                                            <p:strVal val="#ppt_x"/>
                                          </p:val>
                                        </p:tav>
                                      </p:tavLst>
                                    </p:anim>
                                    <p:anim calcmode="lin" valueType="num">
                                      <p:cBhvr additive="base">
                                        <p:cTn id="21" dur="1000" fill="hold"/>
                                        <p:tgtEl>
                                          <p:spTgt spid="7"/>
                                        </p:tgtEl>
                                        <p:attrNameLst>
                                          <p:attrName>ppt_y</p:attrName>
                                        </p:attrNameLst>
                                      </p:cBhvr>
                                      <p:tavLst>
                                        <p:tav tm="0">
                                          <p:val>
                                            <p:strVal val="#ppt_y"/>
                                          </p:val>
                                        </p:tav>
                                        <p:tav tm="100000">
                                          <p:val>
                                            <p:strVal val="#ppt_y"/>
                                          </p:val>
                                        </p:tav>
                                      </p:tavLst>
                                    </p:anim>
                                  </p:childTnLst>
                                </p:cTn>
                              </p:par>
                              <p:par>
                                <p:cTn id="22" presetID="22" presetClass="entr" presetSubtype="8" fill="hold" nodeType="withEffect">
                                  <p:stCondLst>
                                    <p:cond delay="100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wipe(left)">
                                      <p:cBhvr>
                                        <p:cTn id="24" dur="500"/>
                                        <p:tgtEl>
                                          <p:spTgt spid="8">
                                            <p:txEl>
                                              <p:pRg st="0" end="0"/>
                                            </p:txEl>
                                          </p:spTgt>
                                        </p:tgtEl>
                                      </p:cBhvr>
                                    </p:animEffect>
                                  </p:childTnLst>
                                </p:cTn>
                              </p:par>
                              <p:par>
                                <p:cTn id="25" presetID="22" presetClass="entr" presetSubtype="8" fill="hold" nodeType="withEffect">
                                  <p:stCondLst>
                                    <p:cond delay="1000"/>
                                  </p:stCondLst>
                                  <p:childTnLst>
                                    <p:set>
                                      <p:cBhvr>
                                        <p:cTn id="26" dur="1" fill="hold">
                                          <p:stCondLst>
                                            <p:cond delay="0"/>
                                          </p:stCondLst>
                                        </p:cTn>
                                        <p:tgtEl>
                                          <p:spTgt spid="8">
                                            <p:txEl>
                                              <p:pRg st="1" end="1"/>
                                            </p:txEl>
                                          </p:spTgt>
                                        </p:tgtEl>
                                        <p:attrNameLst>
                                          <p:attrName>style.visibility</p:attrName>
                                        </p:attrNameLst>
                                      </p:cBhvr>
                                      <p:to>
                                        <p:strVal val="visible"/>
                                      </p:to>
                                    </p:set>
                                    <p:animEffect transition="in" filter="wipe(left)">
                                      <p:cBhvr>
                                        <p:cTn id="27" dur="500"/>
                                        <p:tgtEl>
                                          <p:spTgt spid="8">
                                            <p:txEl>
                                              <p:pRg st="1" end="1"/>
                                            </p:txEl>
                                          </p:spTgt>
                                        </p:tgtEl>
                                      </p:cBhvr>
                                    </p:animEffect>
                                  </p:childTnLst>
                                </p:cTn>
                              </p:par>
                              <p:par>
                                <p:cTn id="28" presetID="22" presetClass="entr" presetSubtype="8" fill="hold" nodeType="withEffect">
                                  <p:stCondLst>
                                    <p:cond delay="1000"/>
                                  </p:stCondLst>
                                  <p:childTnLst>
                                    <p:set>
                                      <p:cBhvr>
                                        <p:cTn id="29" dur="1" fill="hold">
                                          <p:stCondLst>
                                            <p:cond delay="0"/>
                                          </p:stCondLst>
                                        </p:cTn>
                                        <p:tgtEl>
                                          <p:spTgt spid="8">
                                            <p:txEl>
                                              <p:pRg st="3" end="3"/>
                                            </p:txEl>
                                          </p:spTgt>
                                        </p:tgtEl>
                                        <p:attrNameLst>
                                          <p:attrName>style.visibility</p:attrName>
                                        </p:attrNameLst>
                                      </p:cBhvr>
                                      <p:to>
                                        <p:strVal val="visible"/>
                                      </p:to>
                                    </p:set>
                                    <p:animEffect transition="in" filter="wipe(left)">
                                      <p:cBhvr>
                                        <p:cTn id="30" dur="500"/>
                                        <p:tgtEl>
                                          <p:spTgt spid="8">
                                            <p:txEl>
                                              <p:pRg st="3" end="3"/>
                                            </p:txEl>
                                          </p:spTgt>
                                        </p:tgtEl>
                                      </p:cBhvr>
                                    </p:animEffect>
                                  </p:childTnLst>
                                </p:cTn>
                              </p:par>
                              <p:par>
                                <p:cTn id="31" presetID="22" presetClass="entr" presetSubtype="8" fill="hold" nodeType="withEffect">
                                  <p:stCondLst>
                                    <p:cond delay="1000"/>
                                  </p:stCondLst>
                                  <p:childTnLst>
                                    <p:set>
                                      <p:cBhvr>
                                        <p:cTn id="32" dur="1" fill="hold">
                                          <p:stCondLst>
                                            <p:cond delay="0"/>
                                          </p:stCondLst>
                                        </p:cTn>
                                        <p:tgtEl>
                                          <p:spTgt spid="8">
                                            <p:txEl>
                                              <p:pRg st="2" end="2"/>
                                            </p:txEl>
                                          </p:spTgt>
                                        </p:tgtEl>
                                        <p:attrNameLst>
                                          <p:attrName>style.visibility</p:attrName>
                                        </p:attrNameLst>
                                      </p:cBhvr>
                                      <p:to>
                                        <p:strVal val="visible"/>
                                      </p:to>
                                    </p:set>
                                    <p:animEffect transition="in" filter="wipe(left)">
                                      <p:cBhvr>
                                        <p:cTn id="33"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7732A6-83D7-4065-846B-9ED6DABD44C4}"/>
              </a:ext>
            </a:extLst>
          </p:cNvPr>
          <p:cNvSpPr txBox="1"/>
          <p:nvPr/>
        </p:nvSpPr>
        <p:spPr>
          <a:xfrm>
            <a:off x="6595478" y="-87015"/>
            <a:ext cx="6695768" cy="7220810"/>
          </a:xfrm>
          <a:prstGeom prst="rect">
            <a:avLst/>
          </a:prstGeom>
          <a:solidFill>
            <a:schemeClr val="bg1">
              <a:lumMod val="75000"/>
            </a:schemeClr>
          </a:solidFill>
        </p:spPr>
        <p:txBody>
          <a:bodyPr wrap="square" rtlCol="0">
            <a:spAutoFit/>
          </a:bodyPr>
          <a:lstStyle/>
          <a:p>
            <a:endParaRPr lang="en-US" dirty="0"/>
          </a:p>
        </p:txBody>
      </p:sp>
      <p:pic>
        <p:nvPicPr>
          <p:cNvPr id="2" name="Picture Placeholder 1">
            <a:extLst>
              <a:ext uri="{FF2B5EF4-FFF2-40B4-BE49-F238E27FC236}">
                <a16:creationId xmlns:a16="http://schemas.microsoft.com/office/drawing/2014/main" id="{64ABF381-5F7A-4FDE-8D2E-994AE2649EF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a:xfrm>
            <a:off x="7487412" y="0"/>
            <a:ext cx="4704588" cy="6858000"/>
          </a:xfrm>
          <a:prstGeom prst="rect">
            <a:avLst/>
          </a:prstGeom>
        </p:spPr>
      </p:pic>
      <p:sp>
        <p:nvSpPr>
          <p:cNvPr id="23" name="TextBox 22">
            <a:extLst>
              <a:ext uri="{FF2B5EF4-FFF2-40B4-BE49-F238E27FC236}">
                <a16:creationId xmlns:a16="http://schemas.microsoft.com/office/drawing/2014/main" id="{9E65BF70-A350-4370-B034-5C07DAB08371}"/>
              </a:ext>
            </a:extLst>
          </p:cNvPr>
          <p:cNvSpPr txBox="1"/>
          <p:nvPr/>
        </p:nvSpPr>
        <p:spPr>
          <a:xfrm flipH="1">
            <a:off x="-1514162" y="2105478"/>
            <a:ext cx="9854868" cy="1631216"/>
          </a:xfrm>
          <a:prstGeom prst="rect">
            <a:avLst/>
          </a:prstGeom>
          <a:noFill/>
        </p:spPr>
        <p:txBody>
          <a:bodyPr wrap="square" rtlCol="0">
            <a:spAutoFit/>
          </a:bodyPr>
          <a:lstStyle/>
          <a:p>
            <a:pPr algn="ctr"/>
            <a:r>
              <a:rPr lang="en-US" sz="10000" b="1"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rPr>
              <a:t>Thank You</a:t>
            </a:r>
            <a:endParaRPr lang="id-ID" sz="10000" b="1"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endParaRPr>
          </a:p>
        </p:txBody>
      </p:sp>
      <p:sp>
        <p:nvSpPr>
          <p:cNvPr id="33" name="TextBox 32">
            <a:extLst>
              <a:ext uri="{FF2B5EF4-FFF2-40B4-BE49-F238E27FC236}">
                <a16:creationId xmlns:a16="http://schemas.microsoft.com/office/drawing/2014/main" id="{505C1E1C-14D1-4CF0-9381-7AA304A6C1E6}"/>
              </a:ext>
            </a:extLst>
          </p:cNvPr>
          <p:cNvSpPr txBox="1"/>
          <p:nvPr/>
        </p:nvSpPr>
        <p:spPr>
          <a:xfrm flipH="1">
            <a:off x="-545534" y="3736694"/>
            <a:ext cx="8032946" cy="646331"/>
          </a:xfrm>
          <a:prstGeom prst="rect">
            <a:avLst/>
          </a:prstGeom>
          <a:noFill/>
        </p:spPr>
        <p:txBody>
          <a:bodyPr wrap="square" rtlCol="0">
            <a:spAutoFit/>
          </a:bodyPr>
          <a:lstStyle/>
          <a:p>
            <a:pPr algn="ctr"/>
            <a:r>
              <a:rPr lang="id-ID" sz="3600" b="1" spc="300"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rPr>
              <a:t>#</a:t>
            </a:r>
            <a:r>
              <a:rPr lang="en-US" sz="3600" b="1" spc="300"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rPr>
              <a:t>enjoy v</a:t>
            </a:r>
            <a:r>
              <a:rPr lang="id-ID" sz="3600" b="1" spc="300"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rPr>
              <a:t>acation</a:t>
            </a:r>
            <a:r>
              <a:rPr lang="en-US" sz="3600" b="1" spc="300"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rPr>
              <a:t> with Yelp</a:t>
            </a:r>
            <a:endParaRPr lang="id-ID" sz="3600" b="1" spc="300" dirty="0">
              <a:solidFill>
                <a:schemeClr val="bg1">
                  <a:lumMod val="75000"/>
                </a:schemeClr>
              </a:solidFill>
              <a:effectLst>
                <a:outerShdw blurRad="533400" dist="342900" dir="8100000" algn="tr" rotWithShape="0">
                  <a:prstClr val="black">
                    <a:alpha val="40000"/>
                  </a:prstClr>
                </a:outerShdw>
              </a:effectLst>
              <a:latin typeface="Aller" panose="02000503030000020004" pitchFamily="2" charset="0"/>
            </a:endParaRPr>
          </a:p>
        </p:txBody>
      </p:sp>
    </p:spTree>
    <p:extLst>
      <p:ext uri="{BB962C8B-B14F-4D97-AF65-F5344CB8AC3E}">
        <p14:creationId xmlns:p14="http://schemas.microsoft.com/office/powerpoint/2010/main" val="33015693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75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000" fill="hold"/>
                                        <p:tgtEl>
                                          <p:spTgt spid="23"/>
                                        </p:tgtEl>
                                        <p:attrNameLst>
                                          <p:attrName>ppt_x</p:attrName>
                                        </p:attrNameLst>
                                      </p:cBhvr>
                                      <p:tavLst>
                                        <p:tav tm="0">
                                          <p:val>
                                            <p:strVal val="#ppt_x"/>
                                          </p:val>
                                        </p:tav>
                                        <p:tav tm="100000">
                                          <p:val>
                                            <p:strVal val="#ppt_x"/>
                                          </p:val>
                                        </p:tav>
                                      </p:tavLst>
                                    </p:anim>
                                    <p:anim calcmode="lin" valueType="num">
                                      <p:cBhvr additive="base">
                                        <p:cTn id="8" dur="10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1000" fill="hold"/>
                                        <p:tgtEl>
                                          <p:spTgt spid="33"/>
                                        </p:tgtEl>
                                        <p:attrNameLst>
                                          <p:attrName>ppt_x</p:attrName>
                                        </p:attrNameLst>
                                      </p:cBhvr>
                                      <p:tavLst>
                                        <p:tav tm="0">
                                          <p:val>
                                            <p:strVal val="#ppt_x"/>
                                          </p:val>
                                        </p:tav>
                                        <p:tav tm="100000">
                                          <p:val>
                                            <p:strVal val="#ppt_x"/>
                                          </p:val>
                                        </p:tav>
                                      </p:tavLst>
                                    </p:anim>
                                    <p:anim calcmode="lin" valueType="num">
                                      <p:cBhvr additive="base">
                                        <p:cTn id="12" dur="10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D847C59-27C8-440F-BC3F-03793222C134}"/>
              </a:ext>
            </a:extLst>
          </p:cNvPr>
          <p:cNvSpPr txBox="1"/>
          <p:nvPr/>
        </p:nvSpPr>
        <p:spPr>
          <a:xfrm rot="18892141">
            <a:off x="6438430" y="-2011294"/>
            <a:ext cx="7524821" cy="7220810"/>
          </a:xfrm>
          <a:prstGeom prst="rect">
            <a:avLst/>
          </a:prstGeom>
          <a:solidFill>
            <a:schemeClr val="bg1">
              <a:lumMod val="75000"/>
            </a:schemeClr>
          </a:solidFill>
        </p:spPr>
        <p:txBody>
          <a:bodyPr wrap="square" rtlCol="0">
            <a:spAutoFit/>
          </a:bodyPr>
          <a:lstStyle/>
          <a:p>
            <a:endParaRPr lang="en-US" dirty="0"/>
          </a:p>
        </p:txBody>
      </p:sp>
      <p:sp>
        <p:nvSpPr>
          <p:cNvPr id="56" name="Title 55">
            <a:extLst>
              <a:ext uri="{FF2B5EF4-FFF2-40B4-BE49-F238E27FC236}">
                <a16:creationId xmlns:a16="http://schemas.microsoft.com/office/drawing/2014/main" id="{168A3524-0073-43D9-8E3B-B52714136BD6}"/>
              </a:ext>
            </a:extLst>
          </p:cNvPr>
          <p:cNvSpPr>
            <a:spLocks noGrp="1"/>
          </p:cNvSpPr>
          <p:nvPr>
            <p:ph type="title"/>
          </p:nvPr>
        </p:nvSpPr>
        <p:spPr>
          <a:xfrm>
            <a:off x="803729" y="1078844"/>
            <a:ext cx="6721331" cy="1149090"/>
          </a:xfrm>
        </p:spPr>
        <p:txBody>
          <a:bodyPr/>
          <a:lstStyle/>
          <a:p>
            <a:r>
              <a:rPr lang="en-US" dirty="0"/>
              <a:t>Agenda</a:t>
            </a:r>
            <a:endParaRPr lang="id-ID" dirty="0"/>
          </a:p>
        </p:txBody>
      </p:sp>
      <p:sp>
        <p:nvSpPr>
          <p:cNvPr id="58" name="Text Placeholder 2">
            <a:extLst>
              <a:ext uri="{FF2B5EF4-FFF2-40B4-BE49-F238E27FC236}">
                <a16:creationId xmlns:a16="http://schemas.microsoft.com/office/drawing/2014/main" id="{9D2A2662-B538-4AED-B9B5-FF66296A2FF6}"/>
              </a:ext>
            </a:extLst>
          </p:cNvPr>
          <p:cNvSpPr txBox="1">
            <a:spLocks/>
          </p:cNvSpPr>
          <p:nvPr/>
        </p:nvSpPr>
        <p:spPr>
          <a:xfrm>
            <a:off x="1678414" y="2090229"/>
            <a:ext cx="3091892" cy="248319"/>
          </a:xfrm>
          <a:prstGeom prst="rect">
            <a:avLst/>
          </a:prstGeom>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Yelp company</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Business Problem</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Data: Exploratory analysis</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Data: Sentimental analysis </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Graphs</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Modeling &amp; Model tuning</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Findings</a:t>
            </a:r>
          </a:p>
          <a:p>
            <a:pPr marL="285750" indent="-285750" algn="l">
              <a:buFont typeface="Wingdings" panose="05000000000000000000" pitchFamily="2" charset="2"/>
              <a:buChar char="v"/>
            </a:pPr>
            <a:r>
              <a:rPr lang="en-US" sz="1400" b="1" dirty="0">
                <a:solidFill>
                  <a:schemeClr val="tx1">
                    <a:lumMod val="50000"/>
                    <a:lumOff val="50000"/>
                  </a:schemeClr>
                </a:solidFill>
                <a:latin typeface="Segoe UI Light" panose="020B0502040204020203" pitchFamily="34" charset="0"/>
                <a:cs typeface="Segoe UI Light" panose="020B0502040204020203" pitchFamily="34" charset="0"/>
              </a:rPr>
              <a:t>Future Work</a:t>
            </a:r>
          </a:p>
          <a:p>
            <a:pPr marL="285750" indent="-285750" algn="l">
              <a:buFont typeface="Wingdings" panose="05000000000000000000" pitchFamily="2" charset="2"/>
              <a:buChar char="v"/>
            </a:pPr>
            <a:endParaRPr lang="id-ID" sz="1400" b="1"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15" name="Diamond 14">
            <a:extLst>
              <a:ext uri="{FF2B5EF4-FFF2-40B4-BE49-F238E27FC236}">
                <a16:creationId xmlns:a16="http://schemas.microsoft.com/office/drawing/2014/main" id="{056D39C1-AA00-4882-B8C5-598487DBBAE0}"/>
              </a:ext>
            </a:extLst>
          </p:cNvPr>
          <p:cNvSpPr/>
          <p:nvPr/>
        </p:nvSpPr>
        <p:spPr>
          <a:xfrm>
            <a:off x="5887287" y="-2654844"/>
            <a:ext cx="8524415" cy="8524415"/>
          </a:xfrm>
          <a:prstGeom prst="diamond">
            <a:avLst/>
          </a:pr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Freeform 76">
            <a:extLst>
              <a:ext uri="{FF2B5EF4-FFF2-40B4-BE49-F238E27FC236}">
                <a16:creationId xmlns:a16="http://schemas.microsoft.com/office/drawing/2014/main" id="{DF439A51-000A-4A5D-BAE3-0D92B98A7A58}"/>
              </a:ext>
            </a:extLst>
          </p:cNvPr>
          <p:cNvSpPr>
            <a:spLocks noEditPoints="1"/>
          </p:cNvSpPr>
          <p:nvPr/>
        </p:nvSpPr>
        <p:spPr bwMode="auto">
          <a:xfrm>
            <a:off x="1140843" y="2405693"/>
            <a:ext cx="355630" cy="366569"/>
          </a:xfrm>
          <a:custGeom>
            <a:avLst/>
            <a:gdLst/>
            <a:ahLst/>
            <a:cxnLst>
              <a:cxn ang="0">
                <a:pos x="51" y="15"/>
              </a:cxn>
              <a:cxn ang="0">
                <a:pos x="0" y="44"/>
              </a:cxn>
              <a:cxn ang="0">
                <a:pos x="37" y="94"/>
              </a:cxn>
              <a:cxn ang="0">
                <a:pos x="51" y="87"/>
              </a:cxn>
              <a:cxn ang="0">
                <a:pos x="66" y="94"/>
              </a:cxn>
              <a:cxn ang="0">
                <a:pos x="102" y="44"/>
              </a:cxn>
              <a:cxn ang="0">
                <a:pos x="51" y="15"/>
              </a:cxn>
              <a:cxn ang="0">
                <a:pos x="22" y="73"/>
              </a:cxn>
              <a:cxn ang="0">
                <a:pos x="22" y="22"/>
              </a:cxn>
              <a:cxn ang="0">
                <a:pos x="37" y="22"/>
              </a:cxn>
              <a:cxn ang="0">
                <a:pos x="22" y="73"/>
              </a:cxn>
            </a:cxnLst>
            <a:rect l="0" t="0" r="r" b="b"/>
            <a:pathLst>
              <a:path w="102" h="94">
                <a:moveTo>
                  <a:pt x="51" y="15"/>
                </a:moveTo>
                <a:cubicBezTo>
                  <a:pt x="13" y="0"/>
                  <a:pt x="0" y="22"/>
                  <a:pt x="0" y="44"/>
                </a:cubicBezTo>
                <a:cubicBezTo>
                  <a:pt x="0" y="65"/>
                  <a:pt x="26" y="94"/>
                  <a:pt x="37" y="94"/>
                </a:cubicBezTo>
                <a:cubicBezTo>
                  <a:pt x="51" y="94"/>
                  <a:pt x="51" y="87"/>
                  <a:pt x="51" y="87"/>
                </a:cubicBezTo>
                <a:cubicBezTo>
                  <a:pt x="51" y="87"/>
                  <a:pt x="51" y="94"/>
                  <a:pt x="66" y="94"/>
                </a:cubicBezTo>
                <a:cubicBezTo>
                  <a:pt x="76" y="94"/>
                  <a:pt x="102" y="65"/>
                  <a:pt x="102" y="44"/>
                </a:cubicBezTo>
                <a:cubicBezTo>
                  <a:pt x="102" y="22"/>
                  <a:pt x="89" y="0"/>
                  <a:pt x="51" y="15"/>
                </a:cubicBezTo>
                <a:close/>
                <a:moveTo>
                  <a:pt x="22" y="73"/>
                </a:moveTo>
                <a:cubicBezTo>
                  <a:pt x="0" y="44"/>
                  <a:pt x="22" y="22"/>
                  <a:pt x="22" y="22"/>
                </a:cubicBezTo>
                <a:cubicBezTo>
                  <a:pt x="37" y="22"/>
                  <a:pt x="37" y="22"/>
                  <a:pt x="37" y="22"/>
                </a:cubicBezTo>
                <a:cubicBezTo>
                  <a:pt x="37" y="22"/>
                  <a:pt x="22" y="36"/>
                  <a:pt x="22" y="73"/>
                </a:cubicBezTo>
                <a:close/>
              </a:path>
            </a:pathLst>
          </a:custGeom>
          <a:solidFill>
            <a:srgbClr val="C00000"/>
          </a:solidFill>
          <a:ln w="9525">
            <a:noFill/>
            <a:round/>
            <a:headEnd/>
            <a:tailEnd/>
          </a:ln>
        </p:spPr>
        <p:txBody>
          <a:bodyPr/>
          <a:lstStyle/>
          <a:p>
            <a:pPr fontAlgn="auto">
              <a:spcBef>
                <a:spcPts val="0"/>
              </a:spcBef>
              <a:spcAft>
                <a:spcPts val="0"/>
              </a:spcAft>
              <a:defRPr/>
            </a:pPr>
            <a:endParaRPr lang="en-US" dirty="0">
              <a:latin typeface="+mn-lt"/>
              <a:ea typeface="+mn-ea"/>
            </a:endParaRPr>
          </a:p>
        </p:txBody>
      </p:sp>
      <p:sp>
        <p:nvSpPr>
          <p:cNvPr id="20" name="Freeform 78">
            <a:extLst>
              <a:ext uri="{FF2B5EF4-FFF2-40B4-BE49-F238E27FC236}">
                <a16:creationId xmlns:a16="http://schemas.microsoft.com/office/drawing/2014/main" id="{3B1978DE-BFED-4C83-BC30-33E8C0042CCB}"/>
              </a:ext>
            </a:extLst>
          </p:cNvPr>
          <p:cNvSpPr>
            <a:spLocks/>
          </p:cNvSpPr>
          <p:nvPr/>
        </p:nvSpPr>
        <p:spPr bwMode="auto">
          <a:xfrm>
            <a:off x="1281461" y="2352093"/>
            <a:ext cx="156151" cy="124905"/>
          </a:xfrm>
          <a:custGeom>
            <a:avLst/>
            <a:gdLst/>
            <a:ahLst/>
            <a:cxnLst>
              <a:cxn ang="0">
                <a:pos x="36" y="0"/>
              </a:cxn>
              <a:cxn ang="0">
                <a:pos x="0" y="29"/>
              </a:cxn>
              <a:cxn ang="0">
                <a:pos x="36" y="0"/>
              </a:cxn>
            </a:cxnLst>
            <a:rect l="0" t="0" r="r" b="b"/>
            <a:pathLst>
              <a:path w="36" h="29">
                <a:moveTo>
                  <a:pt x="36" y="0"/>
                </a:moveTo>
                <a:cubicBezTo>
                  <a:pt x="36" y="0"/>
                  <a:pt x="0" y="0"/>
                  <a:pt x="0" y="29"/>
                </a:cubicBezTo>
                <a:cubicBezTo>
                  <a:pt x="0" y="29"/>
                  <a:pt x="36" y="29"/>
                  <a:pt x="36" y="0"/>
                </a:cubicBezTo>
                <a:close/>
              </a:path>
            </a:pathLst>
          </a:custGeom>
          <a:solidFill>
            <a:srgbClr val="C00000"/>
          </a:solidFill>
          <a:ln w="9525">
            <a:noFill/>
            <a:round/>
            <a:headEnd/>
            <a:tailEnd/>
          </a:ln>
        </p:spPr>
        <p:txBody>
          <a:bodyPr/>
          <a:lstStyle/>
          <a:p>
            <a:pPr fontAlgn="auto">
              <a:spcBef>
                <a:spcPts val="0"/>
              </a:spcBef>
              <a:spcAft>
                <a:spcPts val="0"/>
              </a:spcAft>
              <a:defRPr/>
            </a:pPr>
            <a:endParaRPr lang="en-US" dirty="0">
              <a:latin typeface="+mn-lt"/>
              <a:ea typeface="+mn-ea"/>
            </a:endParaRPr>
          </a:p>
        </p:txBody>
      </p:sp>
      <p:sp>
        <p:nvSpPr>
          <p:cNvPr id="21" name="Freeform 53">
            <a:extLst>
              <a:ext uri="{FF2B5EF4-FFF2-40B4-BE49-F238E27FC236}">
                <a16:creationId xmlns:a16="http://schemas.microsoft.com/office/drawing/2014/main" id="{A80FDFC6-41BC-46B2-955D-2C01F5C2D45D}"/>
              </a:ext>
            </a:extLst>
          </p:cNvPr>
          <p:cNvSpPr>
            <a:spLocks noEditPoints="1"/>
          </p:cNvSpPr>
          <p:nvPr/>
        </p:nvSpPr>
        <p:spPr bwMode="auto">
          <a:xfrm>
            <a:off x="810416" y="1956528"/>
            <a:ext cx="377422" cy="443657"/>
          </a:xfrm>
          <a:custGeom>
            <a:avLst/>
            <a:gdLst>
              <a:gd name="T0" fmla="*/ 318630 w 208"/>
              <a:gd name="T1" fmla="*/ 417512 h 256"/>
              <a:gd name="T2" fmla="*/ 19508 w 208"/>
              <a:gd name="T3" fmla="*/ 417512 h 256"/>
              <a:gd name="T4" fmla="*/ 0 w 208"/>
              <a:gd name="T5" fmla="*/ 397941 h 256"/>
              <a:gd name="T6" fmla="*/ 0 w 208"/>
              <a:gd name="T7" fmla="*/ 228327 h 256"/>
              <a:gd name="T8" fmla="*/ 19508 w 208"/>
              <a:gd name="T9" fmla="*/ 208756 h 256"/>
              <a:gd name="T10" fmla="*/ 52021 w 208"/>
              <a:gd name="T11" fmla="*/ 208756 h 256"/>
              <a:gd name="T12" fmla="*/ 52021 w 208"/>
              <a:gd name="T13" fmla="*/ 117425 h 256"/>
              <a:gd name="T14" fmla="*/ 169069 w 208"/>
              <a:gd name="T15" fmla="*/ 0 h 256"/>
              <a:gd name="T16" fmla="*/ 286117 w 208"/>
              <a:gd name="T17" fmla="*/ 117425 h 256"/>
              <a:gd name="T18" fmla="*/ 266609 w 208"/>
              <a:gd name="T19" fmla="*/ 136996 h 256"/>
              <a:gd name="T20" fmla="*/ 247101 w 208"/>
              <a:gd name="T21" fmla="*/ 117425 h 256"/>
              <a:gd name="T22" fmla="*/ 169069 w 208"/>
              <a:gd name="T23" fmla="*/ 39142 h 256"/>
              <a:gd name="T24" fmla="*/ 91037 w 208"/>
              <a:gd name="T25" fmla="*/ 117425 h 256"/>
              <a:gd name="T26" fmla="*/ 91037 w 208"/>
              <a:gd name="T27" fmla="*/ 208756 h 256"/>
              <a:gd name="T28" fmla="*/ 247101 w 208"/>
              <a:gd name="T29" fmla="*/ 208756 h 256"/>
              <a:gd name="T30" fmla="*/ 286117 w 208"/>
              <a:gd name="T31" fmla="*/ 208756 h 256"/>
              <a:gd name="T32" fmla="*/ 318630 w 208"/>
              <a:gd name="T33" fmla="*/ 208756 h 256"/>
              <a:gd name="T34" fmla="*/ 338138 w 208"/>
              <a:gd name="T35" fmla="*/ 228327 h 256"/>
              <a:gd name="T36" fmla="*/ 338138 w 208"/>
              <a:gd name="T37" fmla="*/ 397941 h 256"/>
              <a:gd name="T38" fmla="*/ 318630 w 208"/>
              <a:gd name="T39" fmla="*/ 417512 h 256"/>
              <a:gd name="T40" fmla="*/ 169069 w 208"/>
              <a:gd name="T41" fmla="*/ 247898 h 256"/>
              <a:gd name="T42" fmla="*/ 130053 w 208"/>
              <a:gd name="T43" fmla="*/ 287040 h 256"/>
              <a:gd name="T44" fmla="*/ 149561 w 208"/>
              <a:gd name="T45" fmla="*/ 321289 h 256"/>
              <a:gd name="T46" fmla="*/ 149561 w 208"/>
              <a:gd name="T47" fmla="*/ 358799 h 256"/>
              <a:gd name="T48" fmla="*/ 169069 w 208"/>
              <a:gd name="T49" fmla="*/ 378370 h 256"/>
              <a:gd name="T50" fmla="*/ 188577 w 208"/>
              <a:gd name="T51" fmla="*/ 358799 h 256"/>
              <a:gd name="T52" fmla="*/ 188577 w 208"/>
              <a:gd name="T53" fmla="*/ 321289 h 256"/>
              <a:gd name="T54" fmla="*/ 208085 w 208"/>
              <a:gd name="T55" fmla="*/ 287040 h 256"/>
              <a:gd name="T56" fmla="*/ 169069 w 208"/>
              <a:gd name="T57" fmla="*/ 247898 h 2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08" h="256">
                <a:moveTo>
                  <a:pt x="196" y="256"/>
                </a:moveTo>
                <a:cubicBezTo>
                  <a:pt x="12" y="256"/>
                  <a:pt x="12" y="256"/>
                  <a:pt x="12" y="256"/>
                </a:cubicBezTo>
                <a:cubicBezTo>
                  <a:pt x="5" y="256"/>
                  <a:pt x="0" y="251"/>
                  <a:pt x="0" y="244"/>
                </a:cubicBezTo>
                <a:cubicBezTo>
                  <a:pt x="0" y="140"/>
                  <a:pt x="0" y="140"/>
                  <a:pt x="0" y="140"/>
                </a:cubicBezTo>
                <a:cubicBezTo>
                  <a:pt x="0" y="133"/>
                  <a:pt x="5" y="128"/>
                  <a:pt x="12" y="128"/>
                </a:cubicBezTo>
                <a:cubicBezTo>
                  <a:pt x="32" y="128"/>
                  <a:pt x="32" y="128"/>
                  <a:pt x="32" y="128"/>
                </a:cubicBezTo>
                <a:cubicBezTo>
                  <a:pt x="32" y="72"/>
                  <a:pt x="32" y="72"/>
                  <a:pt x="32" y="72"/>
                </a:cubicBezTo>
                <a:cubicBezTo>
                  <a:pt x="32" y="32"/>
                  <a:pt x="64" y="0"/>
                  <a:pt x="104" y="0"/>
                </a:cubicBezTo>
                <a:cubicBezTo>
                  <a:pt x="144" y="0"/>
                  <a:pt x="176" y="32"/>
                  <a:pt x="176" y="72"/>
                </a:cubicBezTo>
                <a:cubicBezTo>
                  <a:pt x="176" y="79"/>
                  <a:pt x="171" y="84"/>
                  <a:pt x="164" y="84"/>
                </a:cubicBezTo>
                <a:cubicBezTo>
                  <a:pt x="157" y="84"/>
                  <a:pt x="152" y="79"/>
                  <a:pt x="152" y="72"/>
                </a:cubicBezTo>
                <a:cubicBezTo>
                  <a:pt x="152" y="45"/>
                  <a:pt x="131" y="24"/>
                  <a:pt x="104" y="24"/>
                </a:cubicBezTo>
                <a:cubicBezTo>
                  <a:pt x="77" y="24"/>
                  <a:pt x="56" y="45"/>
                  <a:pt x="56" y="72"/>
                </a:cubicBezTo>
                <a:cubicBezTo>
                  <a:pt x="56" y="128"/>
                  <a:pt x="56" y="128"/>
                  <a:pt x="56" y="128"/>
                </a:cubicBezTo>
                <a:cubicBezTo>
                  <a:pt x="152" y="128"/>
                  <a:pt x="152" y="128"/>
                  <a:pt x="152" y="128"/>
                </a:cubicBezTo>
                <a:cubicBezTo>
                  <a:pt x="176" y="128"/>
                  <a:pt x="176" y="128"/>
                  <a:pt x="176" y="128"/>
                </a:cubicBezTo>
                <a:cubicBezTo>
                  <a:pt x="196" y="128"/>
                  <a:pt x="196" y="128"/>
                  <a:pt x="196" y="128"/>
                </a:cubicBezTo>
                <a:cubicBezTo>
                  <a:pt x="203" y="128"/>
                  <a:pt x="208" y="133"/>
                  <a:pt x="208" y="140"/>
                </a:cubicBezTo>
                <a:cubicBezTo>
                  <a:pt x="208" y="244"/>
                  <a:pt x="208" y="244"/>
                  <a:pt x="208" y="244"/>
                </a:cubicBezTo>
                <a:cubicBezTo>
                  <a:pt x="208" y="251"/>
                  <a:pt x="203" y="256"/>
                  <a:pt x="196" y="256"/>
                </a:cubicBezTo>
                <a:moveTo>
                  <a:pt x="104" y="152"/>
                </a:moveTo>
                <a:cubicBezTo>
                  <a:pt x="91" y="152"/>
                  <a:pt x="80" y="163"/>
                  <a:pt x="80" y="176"/>
                </a:cubicBezTo>
                <a:cubicBezTo>
                  <a:pt x="80" y="185"/>
                  <a:pt x="85" y="193"/>
                  <a:pt x="92" y="197"/>
                </a:cubicBezTo>
                <a:cubicBezTo>
                  <a:pt x="92" y="220"/>
                  <a:pt x="92" y="220"/>
                  <a:pt x="92" y="220"/>
                </a:cubicBezTo>
                <a:cubicBezTo>
                  <a:pt x="92" y="227"/>
                  <a:pt x="97" y="232"/>
                  <a:pt x="104" y="232"/>
                </a:cubicBezTo>
                <a:cubicBezTo>
                  <a:pt x="111" y="232"/>
                  <a:pt x="116" y="227"/>
                  <a:pt x="116" y="220"/>
                </a:cubicBezTo>
                <a:cubicBezTo>
                  <a:pt x="116" y="197"/>
                  <a:pt x="116" y="197"/>
                  <a:pt x="116" y="197"/>
                </a:cubicBezTo>
                <a:cubicBezTo>
                  <a:pt x="123" y="193"/>
                  <a:pt x="128" y="185"/>
                  <a:pt x="128" y="176"/>
                </a:cubicBezTo>
                <a:cubicBezTo>
                  <a:pt x="128" y="163"/>
                  <a:pt x="117" y="152"/>
                  <a:pt x="104" y="152"/>
                </a:cubicBezTo>
              </a:path>
            </a:pathLst>
          </a:custGeom>
          <a:solidFill>
            <a:srgbClr val="C00000"/>
          </a:solidFill>
          <a:ln>
            <a:noFill/>
          </a:ln>
        </p:spPr>
        <p:txBody>
          <a:bodyPr/>
          <a:lstStyle/>
          <a:p>
            <a:endParaRPr lang="en-US" dirty="0"/>
          </a:p>
        </p:txBody>
      </p:sp>
    </p:spTree>
    <p:extLst>
      <p:ext uri="{BB962C8B-B14F-4D97-AF65-F5344CB8AC3E}">
        <p14:creationId xmlns:p14="http://schemas.microsoft.com/office/powerpoint/2010/main" val="336719004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1000" fill="hold"/>
                                        <p:tgtEl>
                                          <p:spTgt spid="58"/>
                                        </p:tgtEl>
                                        <p:attrNameLst>
                                          <p:attrName>ppt_x</p:attrName>
                                        </p:attrNameLst>
                                      </p:cBhvr>
                                      <p:tavLst>
                                        <p:tav tm="0">
                                          <p:val>
                                            <p:strVal val="0-#ppt_w/2"/>
                                          </p:val>
                                        </p:tav>
                                        <p:tav tm="100000">
                                          <p:val>
                                            <p:strVal val="#ppt_x"/>
                                          </p:val>
                                        </p:tav>
                                      </p:tavLst>
                                    </p:anim>
                                    <p:anim calcmode="lin" valueType="num">
                                      <p:cBhvr additive="base">
                                        <p:cTn id="8" dur="1000" fill="hold"/>
                                        <p:tgtEl>
                                          <p:spTgt spid="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C881A2E-4E9F-41F7-A9E1-1CF936BE04FA}"/>
              </a:ext>
            </a:extLst>
          </p:cNvPr>
          <p:cNvSpPr>
            <a:spLocks noGrp="1"/>
          </p:cNvSpPr>
          <p:nvPr>
            <p:ph type="title"/>
          </p:nvPr>
        </p:nvSpPr>
        <p:spPr>
          <a:xfrm>
            <a:off x="803729" y="426743"/>
            <a:ext cx="10584543" cy="492124"/>
          </a:xfrm>
        </p:spPr>
        <p:txBody>
          <a:bodyPr/>
          <a:lstStyle/>
          <a:p>
            <a:r>
              <a:rPr lang="en-US" dirty="0"/>
              <a:t>Yelp</a:t>
            </a:r>
            <a:endParaRPr lang="id-ID" dirty="0"/>
          </a:p>
        </p:txBody>
      </p:sp>
      <p:sp>
        <p:nvSpPr>
          <p:cNvPr id="9" name="Content Placeholder 8">
            <a:extLst>
              <a:ext uri="{FF2B5EF4-FFF2-40B4-BE49-F238E27FC236}">
                <a16:creationId xmlns:a16="http://schemas.microsoft.com/office/drawing/2014/main" id="{F8C214E9-66EF-40A5-ACD8-415852934D08}"/>
              </a:ext>
            </a:extLst>
          </p:cNvPr>
          <p:cNvSpPr>
            <a:spLocks noGrp="1"/>
          </p:cNvSpPr>
          <p:nvPr>
            <p:ph sz="quarter" idx="14"/>
          </p:nvPr>
        </p:nvSpPr>
        <p:spPr>
          <a:xfrm>
            <a:off x="803275" y="901405"/>
            <a:ext cx="10585450" cy="327025"/>
          </a:xfrm>
        </p:spPr>
        <p:txBody>
          <a:bodyPr/>
          <a:lstStyle/>
          <a:p>
            <a:r>
              <a:rPr lang="en-US" dirty="0"/>
              <a:t>Real people, Real reviews</a:t>
            </a:r>
            <a:endParaRPr lang="id-ID" dirty="0"/>
          </a:p>
        </p:txBody>
      </p:sp>
      <p:sp>
        <p:nvSpPr>
          <p:cNvPr id="53" name="TextBox 52">
            <a:extLst>
              <a:ext uri="{FF2B5EF4-FFF2-40B4-BE49-F238E27FC236}">
                <a16:creationId xmlns:a16="http://schemas.microsoft.com/office/drawing/2014/main" id="{F212D00F-149D-47D8-9249-C9F9CE0CED39}"/>
              </a:ext>
            </a:extLst>
          </p:cNvPr>
          <p:cNvSpPr txBox="1"/>
          <p:nvPr/>
        </p:nvSpPr>
        <p:spPr>
          <a:xfrm>
            <a:off x="1494713" y="1366011"/>
            <a:ext cx="5714470" cy="1451616"/>
          </a:xfrm>
          <a:prstGeom prst="rect">
            <a:avLst/>
          </a:prstGeom>
          <a:noFill/>
        </p:spPr>
        <p:txBody>
          <a:bodyPr wrap="square" rtlCol="0">
            <a:spAutoFit/>
          </a:bodyPr>
          <a:lstStyle>
            <a:defPPr>
              <a:defRPr lang="id-ID"/>
            </a:defPPr>
            <a:lvl1pPr algn="ctr">
              <a:lnSpc>
                <a:spcPct val="120000"/>
              </a:lnSpc>
              <a:defRPr sz="1200">
                <a:solidFill>
                  <a:schemeClr val="tx1">
                    <a:lumMod val="65000"/>
                    <a:lumOff val="35000"/>
                  </a:schemeClr>
                </a:solidFill>
                <a:latin typeface="Segoe UI" panose="020B0502040204020203" pitchFamily="34" charset="0"/>
                <a:cs typeface="Segoe UI" panose="020B0502040204020203" pitchFamily="34" charset="0"/>
              </a:defRPr>
            </a:lvl1pPr>
          </a:lstStyle>
          <a:p>
            <a:pPr algn="just"/>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Yelp is a business directory service and crowd-sourced review forum, as well as the online reservation service Yelp Reservations. The company also trains small businesses in how to respond to reviews, hosts social events for reviewers, and provides data about businesses, including health inspection scores. </a:t>
            </a:r>
          </a:p>
        </p:txBody>
      </p:sp>
      <p:sp>
        <p:nvSpPr>
          <p:cNvPr id="61" name="Rectangle 60">
            <a:extLst>
              <a:ext uri="{FF2B5EF4-FFF2-40B4-BE49-F238E27FC236}">
                <a16:creationId xmlns:a16="http://schemas.microsoft.com/office/drawing/2014/main" id="{36024EAC-88E2-4651-A441-BE4D2A7C51D2}"/>
              </a:ext>
            </a:extLst>
          </p:cNvPr>
          <p:cNvSpPr/>
          <p:nvPr/>
        </p:nvSpPr>
        <p:spPr>
          <a:xfrm>
            <a:off x="7840648" y="4987634"/>
            <a:ext cx="473206" cy="307777"/>
          </a:xfrm>
          <a:prstGeom prst="rect">
            <a:avLst/>
          </a:prstGeom>
        </p:spPr>
        <p:txBody>
          <a:bodyPr wrap="none">
            <a:spAutoFit/>
          </a:bodyPr>
          <a:lstStyle/>
          <a:p>
            <a:r>
              <a:rPr lang="en-US" sz="1400" dirty="0">
                <a:solidFill>
                  <a:schemeClr val="bg1"/>
                </a:solidFill>
                <a:effectLst>
                  <a:outerShdw blurRad="1270000" dist="203200" dir="2700000" sx="90000" sy="90000" algn="tl" rotWithShape="0">
                    <a:prstClr val="black">
                      <a:alpha val="40000"/>
                    </a:prstClr>
                  </a:outerShdw>
                </a:effectLst>
                <a:latin typeface="Aller" panose="020B0503030302020204" pitchFamily="34" charset="0"/>
                <a:ea typeface="Lato Heavy" panose="020F0502020204030203" pitchFamily="34" charset="0"/>
                <a:cs typeface="Lato Heavy" panose="020F0502020204030203" pitchFamily="34" charset="0"/>
              </a:rPr>
              <a:t>/05</a:t>
            </a:r>
            <a:endParaRPr lang="id-ID" sz="1400" dirty="0">
              <a:effectLst>
                <a:outerShdw blurRad="1270000" dist="203200" dir="2700000" sx="90000" sy="90000" algn="tl" rotWithShape="0">
                  <a:prstClr val="black">
                    <a:alpha val="40000"/>
                  </a:prstClr>
                </a:outerShdw>
              </a:effectLst>
              <a:latin typeface="Aller" panose="020B0503030302020204" pitchFamily="34" charset="0"/>
              <a:ea typeface="Lato Heavy" panose="020F0502020204030203" pitchFamily="34" charset="0"/>
              <a:cs typeface="Lato Heavy" panose="020F0502020204030203" pitchFamily="34" charset="0"/>
            </a:endParaRPr>
          </a:p>
        </p:txBody>
      </p:sp>
      <p:grpSp>
        <p:nvGrpSpPr>
          <p:cNvPr id="77" name="Group 76">
            <a:extLst>
              <a:ext uri="{FF2B5EF4-FFF2-40B4-BE49-F238E27FC236}">
                <a16:creationId xmlns:a16="http://schemas.microsoft.com/office/drawing/2014/main" id="{804A88E8-BD96-48AB-B908-54A3923EA84C}"/>
              </a:ext>
            </a:extLst>
          </p:cNvPr>
          <p:cNvGrpSpPr/>
          <p:nvPr/>
        </p:nvGrpSpPr>
        <p:grpSpPr>
          <a:xfrm>
            <a:off x="1479945" y="3502898"/>
            <a:ext cx="272771" cy="492124"/>
            <a:chOff x="10342238" y="3964730"/>
            <a:chExt cx="105115" cy="267359"/>
          </a:xfrm>
          <a:solidFill>
            <a:srgbClr val="C00000"/>
          </a:solidFill>
        </p:grpSpPr>
        <p:sp>
          <p:nvSpPr>
            <p:cNvPr id="80" name="Freeform 12">
              <a:extLst>
                <a:ext uri="{FF2B5EF4-FFF2-40B4-BE49-F238E27FC236}">
                  <a16:creationId xmlns:a16="http://schemas.microsoft.com/office/drawing/2014/main" id="{81E9E333-BE1E-4B10-932A-C6200DE0B1E7}"/>
                </a:ext>
              </a:extLst>
            </p:cNvPr>
            <p:cNvSpPr>
              <a:spLocks/>
            </p:cNvSpPr>
            <p:nvPr/>
          </p:nvSpPr>
          <p:spPr bwMode="auto">
            <a:xfrm>
              <a:off x="10342238" y="4010430"/>
              <a:ext cx="105115" cy="221659"/>
            </a:xfrm>
            <a:custGeom>
              <a:avLst/>
              <a:gdLst>
                <a:gd name="T0" fmla="*/ 59 w 78"/>
                <a:gd name="T1" fmla="*/ 0 h 164"/>
                <a:gd name="T2" fmla="*/ 20 w 78"/>
                <a:gd name="T3" fmla="*/ 0 h 164"/>
                <a:gd name="T4" fmla="*/ 0 w 78"/>
                <a:gd name="T5" fmla="*/ 16 h 164"/>
                <a:gd name="T6" fmla="*/ 0 w 78"/>
                <a:gd name="T7" fmla="*/ 16 h 164"/>
                <a:gd name="T8" fmla="*/ 0 w 78"/>
                <a:gd name="T9" fmla="*/ 19 h 164"/>
                <a:gd name="T10" fmla="*/ 0 w 78"/>
                <a:gd name="T11" fmla="*/ 74 h 164"/>
                <a:gd name="T12" fmla="*/ 7 w 78"/>
                <a:gd name="T13" fmla="*/ 80 h 164"/>
                <a:gd name="T14" fmla="*/ 13 w 78"/>
                <a:gd name="T15" fmla="*/ 74 h 164"/>
                <a:gd name="T16" fmla="*/ 13 w 78"/>
                <a:gd name="T17" fmla="*/ 26 h 164"/>
                <a:gd name="T18" fmla="*/ 19 w 78"/>
                <a:gd name="T19" fmla="*/ 26 h 164"/>
                <a:gd name="T20" fmla="*/ 19 w 78"/>
                <a:gd name="T21" fmla="*/ 72 h 164"/>
                <a:gd name="T22" fmla="*/ 19 w 78"/>
                <a:gd name="T23" fmla="*/ 73 h 164"/>
                <a:gd name="T24" fmla="*/ 19 w 78"/>
                <a:gd name="T25" fmla="*/ 154 h 164"/>
                <a:gd name="T26" fmla="*/ 28 w 78"/>
                <a:gd name="T27" fmla="*/ 164 h 164"/>
                <a:gd name="T28" fmla="*/ 37 w 78"/>
                <a:gd name="T29" fmla="*/ 154 h 164"/>
                <a:gd name="T30" fmla="*/ 37 w 78"/>
                <a:gd name="T31" fmla="*/ 83 h 164"/>
                <a:gd name="T32" fmla="*/ 41 w 78"/>
                <a:gd name="T33" fmla="*/ 83 h 164"/>
                <a:gd name="T34" fmla="*/ 41 w 78"/>
                <a:gd name="T35" fmla="*/ 154 h 164"/>
                <a:gd name="T36" fmla="*/ 50 w 78"/>
                <a:gd name="T37" fmla="*/ 164 h 164"/>
                <a:gd name="T38" fmla="*/ 59 w 78"/>
                <a:gd name="T39" fmla="*/ 154 h 164"/>
                <a:gd name="T40" fmla="*/ 59 w 78"/>
                <a:gd name="T41" fmla="*/ 72 h 164"/>
                <a:gd name="T42" fmla="*/ 59 w 78"/>
                <a:gd name="T43" fmla="*/ 71 h 164"/>
                <a:gd name="T44" fmla="*/ 59 w 78"/>
                <a:gd name="T45" fmla="*/ 26 h 164"/>
                <a:gd name="T46" fmla="*/ 64 w 78"/>
                <a:gd name="T47" fmla="*/ 26 h 164"/>
                <a:gd name="T48" fmla="*/ 64 w 78"/>
                <a:gd name="T49" fmla="*/ 74 h 164"/>
                <a:gd name="T50" fmla="*/ 71 w 78"/>
                <a:gd name="T51" fmla="*/ 80 h 164"/>
                <a:gd name="T52" fmla="*/ 78 w 78"/>
                <a:gd name="T53" fmla="*/ 74 h 164"/>
                <a:gd name="T54" fmla="*/ 78 w 78"/>
                <a:gd name="T55" fmla="*/ 19 h 164"/>
                <a:gd name="T56" fmla="*/ 78 w 78"/>
                <a:gd name="T57" fmla="*/ 16 h 164"/>
                <a:gd name="T58" fmla="*/ 78 w 78"/>
                <a:gd name="T59" fmla="*/ 15 h 164"/>
                <a:gd name="T60" fmla="*/ 59 w 78"/>
                <a:gd name="T6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164">
                  <a:moveTo>
                    <a:pt x="59" y="0"/>
                  </a:moveTo>
                  <a:cubicBezTo>
                    <a:pt x="20" y="0"/>
                    <a:pt x="20" y="0"/>
                    <a:pt x="20" y="0"/>
                  </a:cubicBezTo>
                  <a:cubicBezTo>
                    <a:pt x="6" y="0"/>
                    <a:pt x="0" y="12"/>
                    <a:pt x="0" y="16"/>
                  </a:cubicBezTo>
                  <a:cubicBezTo>
                    <a:pt x="0" y="16"/>
                    <a:pt x="0" y="16"/>
                    <a:pt x="0" y="16"/>
                  </a:cubicBezTo>
                  <a:cubicBezTo>
                    <a:pt x="0" y="19"/>
                    <a:pt x="0" y="19"/>
                    <a:pt x="0" y="19"/>
                  </a:cubicBezTo>
                  <a:cubicBezTo>
                    <a:pt x="0" y="74"/>
                    <a:pt x="0" y="74"/>
                    <a:pt x="0" y="74"/>
                  </a:cubicBezTo>
                  <a:cubicBezTo>
                    <a:pt x="0" y="77"/>
                    <a:pt x="3" y="80"/>
                    <a:pt x="7" y="80"/>
                  </a:cubicBezTo>
                  <a:cubicBezTo>
                    <a:pt x="10" y="80"/>
                    <a:pt x="13" y="77"/>
                    <a:pt x="13" y="74"/>
                  </a:cubicBezTo>
                  <a:cubicBezTo>
                    <a:pt x="13" y="26"/>
                    <a:pt x="13" y="26"/>
                    <a:pt x="13" y="26"/>
                  </a:cubicBezTo>
                  <a:cubicBezTo>
                    <a:pt x="19" y="26"/>
                    <a:pt x="19" y="26"/>
                    <a:pt x="19" y="26"/>
                  </a:cubicBezTo>
                  <a:cubicBezTo>
                    <a:pt x="19" y="72"/>
                    <a:pt x="19" y="72"/>
                    <a:pt x="19" y="72"/>
                  </a:cubicBezTo>
                  <a:cubicBezTo>
                    <a:pt x="19" y="72"/>
                    <a:pt x="19" y="73"/>
                    <a:pt x="19" y="73"/>
                  </a:cubicBezTo>
                  <a:cubicBezTo>
                    <a:pt x="19" y="154"/>
                    <a:pt x="19" y="154"/>
                    <a:pt x="19" y="154"/>
                  </a:cubicBezTo>
                  <a:cubicBezTo>
                    <a:pt x="19" y="159"/>
                    <a:pt x="23" y="164"/>
                    <a:pt x="28" y="164"/>
                  </a:cubicBezTo>
                  <a:cubicBezTo>
                    <a:pt x="33" y="164"/>
                    <a:pt x="37" y="159"/>
                    <a:pt x="37" y="154"/>
                  </a:cubicBezTo>
                  <a:cubicBezTo>
                    <a:pt x="37" y="83"/>
                    <a:pt x="37" y="83"/>
                    <a:pt x="37" y="83"/>
                  </a:cubicBezTo>
                  <a:cubicBezTo>
                    <a:pt x="41" y="83"/>
                    <a:pt x="41" y="83"/>
                    <a:pt x="41" y="83"/>
                  </a:cubicBezTo>
                  <a:cubicBezTo>
                    <a:pt x="41" y="154"/>
                    <a:pt x="41" y="154"/>
                    <a:pt x="41" y="154"/>
                  </a:cubicBezTo>
                  <a:cubicBezTo>
                    <a:pt x="41" y="159"/>
                    <a:pt x="45" y="164"/>
                    <a:pt x="50" y="164"/>
                  </a:cubicBezTo>
                  <a:cubicBezTo>
                    <a:pt x="55" y="164"/>
                    <a:pt x="59" y="159"/>
                    <a:pt x="59" y="154"/>
                  </a:cubicBezTo>
                  <a:cubicBezTo>
                    <a:pt x="59" y="72"/>
                    <a:pt x="59" y="72"/>
                    <a:pt x="59" y="72"/>
                  </a:cubicBezTo>
                  <a:cubicBezTo>
                    <a:pt x="59" y="71"/>
                    <a:pt x="59" y="71"/>
                    <a:pt x="59" y="71"/>
                  </a:cubicBezTo>
                  <a:cubicBezTo>
                    <a:pt x="59" y="26"/>
                    <a:pt x="59" y="26"/>
                    <a:pt x="59" y="26"/>
                  </a:cubicBezTo>
                  <a:cubicBezTo>
                    <a:pt x="64" y="26"/>
                    <a:pt x="64" y="26"/>
                    <a:pt x="64" y="26"/>
                  </a:cubicBezTo>
                  <a:cubicBezTo>
                    <a:pt x="64" y="74"/>
                    <a:pt x="64" y="74"/>
                    <a:pt x="64" y="74"/>
                  </a:cubicBezTo>
                  <a:cubicBezTo>
                    <a:pt x="64" y="77"/>
                    <a:pt x="67" y="80"/>
                    <a:pt x="71" y="80"/>
                  </a:cubicBezTo>
                  <a:cubicBezTo>
                    <a:pt x="75" y="80"/>
                    <a:pt x="78" y="77"/>
                    <a:pt x="78" y="74"/>
                  </a:cubicBezTo>
                  <a:cubicBezTo>
                    <a:pt x="78" y="19"/>
                    <a:pt x="78" y="19"/>
                    <a:pt x="78" y="19"/>
                  </a:cubicBezTo>
                  <a:cubicBezTo>
                    <a:pt x="78" y="16"/>
                    <a:pt x="78" y="16"/>
                    <a:pt x="78" y="16"/>
                  </a:cubicBezTo>
                  <a:cubicBezTo>
                    <a:pt x="78" y="15"/>
                    <a:pt x="78" y="15"/>
                    <a:pt x="78" y="15"/>
                  </a:cubicBezTo>
                  <a:cubicBezTo>
                    <a:pt x="78" y="10"/>
                    <a:pt x="72" y="0"/>
                    <a:pt x="5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Segoe UI" panose="020B0502040204020203" pitchFamily="34" charset="0"/>
                <a:cs typeface="Segoe UI" panose="020B0502040204020203" pitchFamily="34" charset="0"/>
              </a:endParaRPr>
            </a:p>
          </p:txBody>
        </p:sp>
        <p:sp>
          <p:nvSpPr>
            <p:cNvPr id="81" name="Oval 13">
              <a:extLst>
                <a:ext uri="{FF2B5EF4-FFF2-40B4-BE49-F238E27FC236}">
                  <a16:creationId xmlns:a16="http://schemas.microsoft.com/office/drawing/2014/main" id="{60F16ACD-F22F-4885-AC13-BA7AE1044996}"/>
                </a:ext>
              </a:extLst>
            </p:cNvPr>
            <p:cNvSpPr>
              <a:spLocks noChangeArrowheads="1"/>
            </p:cNvSpPr>
            <p:nvPr/>
          </p:nvSpPr>
          <p:spPr bwMode="auto">
            <a:xfrm>
              <a:off x="10374221" y="3964730"/>
              <a:ext cx="41703" cy="4170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Segoe UI" panose="020B0502040204020203" pitchFamily="34" charset="0"/>
                <a:cs typeface="Segoe UI" panose="020B0502040204020203" pitchFamily="34" charset="0"/>
              </a:endParaRPr>
            </a:p>
          </p:txBody>
        </p:sp>
      </p:grpSp>
      <p:grpSp>
        <p:nvGrpSpPr>
          <p:cNvPr id="101" name="Group 100">
            <a:extLst>
              <a:ext uri="{FF2B5EF4-FFF2-40B4-BE49-F238E27FC236}">
                <a16:creationId xmlns:a16="http://schemas.microsoft.com/office/drawing/2014/main" id="{3A8627CF-C2D8-467A-8164-13B7FBCB1CF9}"/>
              </a:ext>
            </a:extLst>
          </p:cNvPr>
          <p:cNvGrpSpPr/>
          <p:nvPr/>
        </p:nvGrpSpPr>
        <p:grpSpPr>
          <a:xfrm flipH="1">
            <a:off x="867737" y="1326642"/>
            <a:ext cx="276099" cy="235638"/>
            <a:chOff x="5356342" y="3093565"/>
            <a:chExt cx="465138" cy="391319"/>
          </a:xfrm>
          <a:solidFill>
            <a:srgbClr val="C00000"/>
          </a:solidFill>
        </p:grpSpPr>
        <p:sp>
          <p:nvSpPr>
            <p:cNvPr id="103" name="AutoShape 120">
              <a:extLst>
                <a:ext uri="{FF2B5EF4-FFF2-40B4-BE49-F238E27FC236}">
                  <a16:creationId xmlns:a16="http://schemas.microsoft.com/office/drawing/2014/main" id="{5E4DB080-3BB0-4D71-B22C-11CC377EF278}"/>
                </a:ext>
              </a:extLst>
            </p:cNvPr>
            <p:cNvSpPr>
              <a:spLocks/>
            </p:cNvSpPr>
            <p:nvPr/>
          </p:nvSpPr>
          <p:spPr bwMode="auto">
            <a:xfrm>
              <a:off x="5473023" y="319516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defTabSz="228600" fontAlgn="base" hangingPunct="0">
                <a:spcBef>
                  <a:spcPct val="0"/>
                </a:spcBef>
                <a:spcAft>
                  <a:spcPct val="0"/>
                </a:spcAft>
              </a:pPr>
              <a:endParaRPr lang="en-US" sz="1500" dirty="0">
                <a:solidFill>
                  <a:schemeClr val="bg1">
                    <a:lumMod val="65000"/>
                  </a:schemeClr>
                </a:solidFill>
                <a:effectLst>
                  <a:outerShdw blurRad="38100" dist="38100" dir="2700000" algn="tl">
                    <a:srgbClr val="000000"/>
                  </a:outerShdw>
                </a:effectLst>
                <a:latin typeface="Gill Sans" charset="0"/>
                <a:sym typeface="Gill Sans" charset="0"/>
              </a:endParaRPr>
            </a:p>
          </p:txBody>
        </p:sp>
        <p:sp>
          <p:nvSpPr>
            <p:cNvPr id="104" name="AutoShape 121">
              <a:extLst>
                <a:ext uri="{FF2B5EF4-FFF2-40B4-BE49-F238E27FC236}">
                  <a16:creationId xmlns:a16="http://schemas.microsoft.com/office/drawing/2014/main" id="{A14C7CDF-B2A1-4AC9-89D7-28264E58BCFD}"/>
                </a:ext>
              </a:extLst>
            </p:cNvPr>
            <p:cNvSpPr>
              <a:spLocks/>
            </p:cNvSpPr>
            <p:nvPr/>
          </p:nvSpPr>
          <p:spPr bwMode="auto">
            <a:xfrm>
              <a:off x="5530967" y="325310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defTabSz="228600" fontAlgn="base" hangingPunct="0">
                <a:spcBef>
                  <a:spcPct val="0"/>
                </a:spcBef>
                <a:spcAft>
                  <a:spcPct val="0"/>
                </a:spcAft>
              </a:pPr>
              <a:endParaRPr lang="en-US" sz="1500" dirty="0">
                <a:solidFill>
                  <a:schemeClr val="bg1">
                    <a:lumMod val="65000"/>
                  </a:schemeClr>
                </a:solidFill>
                <a:effectLst>
                  <a:outerShdw blurRad="38100" dist="38100" dir="2700000" algn="tl">
                    <a:srgbClr val="000000"/>
                  </a:outerShdw>
                </a:effectLst>
                <a:latin typeface="Gill Sans" charset="0"/>
                <a:sym typeface="Gill Sans" charset="0"/>
              </a:endParaRPr>
            </a:p>
          </p:txBody>
        </p:sp>
        <p:sp>
          <p:nvSpPr>
            <p:cNvPr id="105" name="AutoShape 122">
              <a:extLst>
                <a:ext uri="{FF2B5EF4-FFF2-40B4-BE49-F238E27FC236}">
                  <a16:creationId xmlns:a16="http://schemas.microsoft.com/office/drawing/2014/main" id="{90829E2F-B918-4606-89BD-83D74B76C57A}"/>
                </a:ext>
              </a:extLst>
            </p:cNvPr>
            <p:cNvSpPr>
              <a:spLocks/>
            </p:cNvSpPr>
            <p:nvPr/>
          </p:nvSpPr>
          <p:spPr bwMode="auto">
            <a:xfrm>
              <a:off x="5356342" y="309356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defTabSz="228600" fontAlgn="base" hangingPunct="0">
                <a:spcBef>
                  <a:spcPct val="0"/>
                </a:spcBef>
                <a:spcAft>
                  <a:spcPct val="0"/>
                </a:spcAft>
              </a:pPr>
              <a:endParaRPr lang="en-US" sz="1500" dirty="0">
                <a:solidFill>
                  <a:schemeClr val="bg1">
                    <a:lumMod val="65000"/>
                  </a:schemeClr>
                </a:solidFill>
                <a:effectLst>
                  <a:outerShdw blurRad="38100" dist="38100" dir="2700000" algn="tl">
                    <a:srgbClr val="000000"/>
                  </a:outerShdw>
                </a:effectLst>
                <a:latin typeface="Gill Sans" charset="0"/>
                <a:sym typeface="Gill Sans" charset="0"/>
              </a:endParaRPr>
            </a:p>
          </p:txBody>
        </p:sp>
      </p:grpSp>
      <p:grpSp>
        <p:nvGrpSpPr>
          <p:cNvPr id="36" name="Group 35">
            <a:extLst>
              <a:ext uri="{FF2B5EF4-FFF2-40B4-BE49-F238E27FC236}">
                <a16:creationId xmlns:a16="http://schemas.microsoft.com/office/drawing/2014/main" id="{D4A5C49F-E66F-40AE-A815-FC59F1D45E0F}"/>
              </a:ext>
            </a:extLst>
          </p:cNvPr>
          <p:cNvGrpSpPr/>
          <p:nvPr/>
        </p:nvGrpSpPr>
        <p:grpSpPr>
          <a:xfrm>
            <a:off x="1745266" y="3693295"/>
            <a:ext cx="388897" cy="492124"/>
            <a:chOff x="8204317" y="3973834"/>
            <a:chExt cx="464344" cy="465138"/>
          </a:xfrm>
          <a:solidFill>
            <a:srgbClr val="C00000"/>
          </a:solidFill>
        </p:grpSpPr>
        <p:sp>
          <p:nvSpPr>
            <p:cNvPr id="37" name="AutoShape 33">
              <a:extLst>
                <a:ext uri="{FF2B5EF4-FFF2-40B4-BE49-F238E27FC236}">
                  <a16:creationId xmlns:a16="http://schemas.microsoft.com/office/drawing/2014/main" id="{00EE9DFA-86FB-4C56-948D-08A36550EFC0}"/>
                </a:ext>
              </a:extLst>
            </p:cNvPr>
            <p:cNvSpPr>
              <a:spLocks/>
            </p:cNvSpPr>
            <p:nvPr/>
          </p:nvSpPr>
          <p:spPr bwMode="auto">
            <a:xfrm>
              <a:off x="8204317" y="4148459"/>
              <a:ext cx="464344" cy="290513"/>
            </a:xfrm>
            <a:custGeom>
              <a:avLst/>
              <a:gdLst>
                <a:gd name="T0" fmla="*/ 10752 w 21505"/>
                <a:gd name="T1" fmla="*/ 10800 h 21600"/>
                <a:gd name="T2" fmla="*/ 10752 w 21505"/>
                <a:gd name="T3" fmla="*/ 10800 h 21600"/>
                <a:gd name="T4" fmla="*/ 10752 w 21505"/>
                <a:gd name="T5" fmla="*/ 10800 h 21600"/>
                <a:gd name="T6" fmla="*/ 10752 w 21505"/>
                <a:gd name="T7" fmla="*/ 10800 h 21600"/>
              </a:gdLst>
              <a:ahLst/>
              <a:cxnLst>
                <a:cxn ang="0">
                  <a:pos x="T0" y="T1"/>
                </a:cxn>
                <a:cxn ang="0">
                  <a:pos x="T2" y="T3"/>
                </a:cxn>
                <a:cxn ang="0">
                  <a:pos x="T4" y="T5"/>
                </a:cxn>
                <a:cxn ang="0">
                  <a:pos x="T6" y="T7"/>
                </a:cxn>
              </a:cxnLst>
              <a:rect l="0" t="0" r="r" b="b"/>
              <a:pathLst>
                <a:path w="21505" h="21600">
                  <a:moveTo>
                    <a:pt x="17472" y="17279"/>
                  </a:moveTo>
                  <a:lnTo>
                    <a:pt x="17472" y="18899"/>
                  </a:lnTo>
                  <a:cubicBezTo>
                    <a:pt x="17472" y="19198"/>
                    <a:pt x="17321" y="19439"/>
                    <a:pt x="17136" y="19439"/>
                  </a:cubicBezTo>
                  <a:lnTo>
                    <a:pt x="4368" y="19439"/>
                  </a:lnTo>
                  <a:cubicBezTo>
                    <a:pt x="4182" y="19439"/>
                    <a:pt x="4032" y="19198"/>
                    <a:pt x="4032" y="18899"/>
                  </a:cubicBezTo>
                  <a:lnTo>
                    <a:pt x="4032" y="17279"/>
                  </a:lnTo>
                  <a:lnTo>
                    <a:pt x="1344" y="12419"/>
                  </a:lnTo>
                  <a:cubicBezTo>
                    <a:pt x="1344" y="12121"/>
                    <a:pt x="1494" y="11879"/>
                    <a:pt x="1680" y="11879"/>
                  </a:cubicBezTo>
                  <a:lnTo>
                    <a:pt x="3360" y="11879"/>
                  </a:lnTo>
                  <a:lnTo>
                    <a:pt x="4032" y="11879"/>
                  </a:lnTo>
                  <a:lnTo>
                    <a:pt x="4704" y="11879"/>
                  </a:lnTo>
                  <a:lnTo>
                    <a:pt x="5376" y="11879"/>
                  </a:lnTo>
                  <a:lnTo>
                    <a:pt x="6048" y="11879"/>
                  </a:lnTo>
                  <a:lnTo>
                    <a:pt x="6720" y="11879"/>
                  </a:lnTo>
                  <a:lnTo>
                    <a:pt x="7392" y="11879"/>
                  </a:lnTo>
                  <a:lnTo>
                    <a:pt x="8064" y="11879"/>
                  </a:lnTo>
                  <a:lnTo>
                    <a:pt x="8736" y="11879"/>
                  </a:lnTo>
                  <a:lnTo>
                    <a:pt x="12768" y="11879"/>
                  </a:lnTo>
                  <a:lnTo>
                    <a:pt x="13440" y="11879"/>
                  </a:lnTo>
                  <a:lnTo>
                    <a:pt x="14112" y="11879"/>
                  </a:lnTo>
                  <a:lnTo>
                    <a:pt x="14784" y="11879"/>
                  </a:lnTo>
                  <a:lnTo>
                    <a:pt x="15456" y="11879"/>
                  </a:lnTo>
                  <a:lnTo>
                    <a:pt x="16128" y="11879"/>
                  </a:lnTo>
                  <a:lnTo>
                    <a:pt x="16800" y="11879"/>
                  </a:lnTo>
                  <a:lnTo>
                    <a:pt x="17472" y="11879"/>
                  </a:lnTo>
                  <a:lnTo>
                    <a:pt x="18144" y="11879"/>
                  </a:lnTo>
                  <a:lnTo>
                    <a:pt x="19824" y="11879"/>
                  </a:lnTo>
                  <a:cubicBezTo>
                    <a:pt x="20009" y="11879"/>
                    <a:pt x="20160" y="12121"/>
                    <a:pt x="20160" y="12419"/>
                  </a:cubicBezTo>
                  <a:cubicBezTo>
                    <a:pt x="20160" y="12419"/>
                    <a:pt x="17472" y="17279"/>
                    <a:pt x="17472" y="17279"/>
                  </a:cubicBezTo>
                  <a:close/>
                  <a:moveTo>
                    <a:pt x="10752" y="4320"/>
                  </a:moveTo>
                  <a:cubicBezTo>
                    <a:pt x="8625" y="4320"/>
                    <a:pt x="6826" y="6601"/>
                    <a:pt x="6246" y="9719"/>
                  </a:cubicBezTo>
                  <a:lnTo>
                    <a:pt x="5552" y="9719"/>
                  </a:lnTo>
                  <a:cubicBezTo>
                    <a:pt x="6152" y="6000"/>
                    <a:pt x="8252" y="3239"/>
                    <a:pt x="10752" y="3239"/>
                  </a:cubicBezTo>
                  <a:cubicBezTo>
                    <a:pt x="12934" y="3239"/>
                    <a:pt x="14813" y="5344"/>
                    <a:pt x="15654" y="8353"/>
                  </a:cubicBezTo>
                  <a:lnTo>
                    <a:pt x="15054" y="8835"/>
                  </a:lnTo>
                  <a:cubicBezTo>
                    <a:pt x="14323" y="6180"/>
                    <a:pt x="12671" y="4320"/>
                    <a:pt x="10752" y="4320"/>
                  </a:cubicBezTo>
                  <a:moveTo>
                    <a:pt x="10752" y="8639"/>
                  </a:moveTo>
                  <a:cubicBezTo>
                    <a:pt x="10158" y="8639"/>
                    <a:pt x="9630" y="9061"/>
                    <a:pt x="9260" y="9719"/>
                  </a:cubicBezTo>
                  <a:lnTo>
                    <a:pt x="8437" y="9719"/>
                  </a:lnTo>
                  <a:cubicBezTo>
                    <a:pt x="8904" y="8435"/>
                    <a:pt x="9761" y="7560"/>
                    <a:pt x="10752" y="7560"/>
                  </a:cubicBezTo>
                  <a:cubicBezTo>
                    <a:pt x="11742" y="7560"/>
                    <a:pt x="12600" y="8435"/>
                    <a:pt x="13066" y="9719"/>
                  </a:cubicBezTo>
                  <a:lnTo>
                    <a:pt x="12244" y="9719"/>
                  </a:lnTo>
                  <a:cubicBezTo>
                    <a:pt x="11874" y="9061"/>
                    <a:pt x="11345" y="8639"/>
                    <a:pt x="10752" y="8639"/>
                  </a:cubicBezTo>
                  <a:moveTo>
                    <a:pt x="13827" y="9719"/>
                  </a:moveTo>
                  <a:cubicBezTo>
                    <a:pt x="13307" y="7816"/>
                    <a:pt x="12126" y="6479"/>
                    <a:pt x="10752" y="6479"/>
                  </a:cubicBezTo>
                  <a:cubicBezTo>
                    <a:pt x="9378" y="6479"/>
                    <a:pt x="8197" y="7816"/>
                    <a:pt x="7676" y="9719"/>
                  </a:cubicBezTo>
                  <a:lnTo>
                    <a:pt x="6955" y="9719"/>
                  </a:lnTo>
                  <a:cubicBezTo>
                    <a:pt x="7510" y="7207"/>
                    <a:pt x="9001" y="5400"/>
                    <a:pt x="10752" y="5400"/>
                  </a:cubicBezTo>
                  <a:cubicBezTo>
                    <a:pt x="12409" y="5400"/>
                    <a:pt x="13834" y="7015"/>
                    <a:pt x="14454" y="9317"/>
                  </a:cubicBezTo>
                  <a:lnTo>
                    <a:pt x="13953" y="9719"/>
                  </a:lnTo>
                  <a:cubicBezTo>
                    <a:pt x="13953" y="9719"/>
                    <a:pt x="13827" y="9719"/>
                    <a:pt x="13827" y="9719"/>
                  </a:cubicBezTo>
                  <a:close/>
                  <a:moveTo>
                    <a:pt x="10752" y="1080"/>
                  </a:moveTo>
                  <a:cubicBezTo>
                    <a:pt x="13459" y="1080"/>
                    <a:pt x="15792" y="3672"/>
                    <a:pt x="16856" y="7388"/>
                  </a:cubicBezTo>
                  <a:lnTo>
                    <a:pt x="16256" y="7869"/>
                  </a:lnTo>
                  <a:cubicBezTo>
                    <a:pt x="15305" y="4504"/>
                    <a:pt x="13201" y="2160"/>
                    <a:pt x="10752" y="2160"/>
                  </a:cubicBezTo>
                  <a:cubicBezTo>
                    <a:pt x="7874" y="2160"/>
                    <a:pt x="5470" y="5392"/>
                    <a:pt x="4858" y="9719"/>
                  </a:cubicBezTo>
                  <a:lnTo>
                    <a:pt x="4167" y="9719"/>
                  </a:lnTo>
                  <a:cubicBezTo>
                    <a:pt x="4792" y="4796"/>
                    <a:pt x="7507" y="1080"/>
                    <a:pt x="10752" y="1080"/>
                  </a:cubicBezTo>
                  <a:moveTo>
                    <a:pt x="17336" y="9719"/>
                  </a:moveTo>
                  <a:lnTo>
                    <a:pt x="16958" y="9719"/>
                  </a:lnTo>
                  <a:lnTo>
                    <a:pt x="17294" y="9449"/>
                  </a:lnTo>
                  <a:cubicBezTo>
                    <a:pt x="17307" y="9540"/>
                    <a:pt x="17325" y="9628"/>
                    <a:pt x="17336" y="9719"/>
                  </a:cubicBezTo>
                  <a:moveTo>
                    <a:pt x="19824" y="9719"/>
                  </a:moveTo>
                  <a:lnTo>
                    <a:pt x="18016" y="9719"/>
                  </a:lnTo>
                  <a:cubicBezTo>
                    <a:pt x="17986" y="9461"/>
                    <a:pt x="17948" y="9209"/>
                    <a:pt x="17908" y="8957"/>
                  </a:cubicBezTo>
                  <a:lnTo>
                    <a:pt x="21132" y="6366"/>
                  </a:lnTo>
                  <a:cubicBezTo>
                    <a:pt x="21464" y="6099"/>
                    <a:pt x="21599" y="5450"/>
                    <a:pt x="21433" y="4916"/>
                  </a:cubicBezTo>
                  <a:cubicBezTo>
                    <a:pt x="21267" y="4383"/>
                    <a:pt x="20864" y="4169"/>
                    <a:pt x="20532" y="4433"/>
                  </a:cubicBezTo>
                  <a:lnTo>
                    <a:pt x="17456" y="6905"/>
                  </a:lnTo>
                  <a:cubicBezTo>
                    <a:pt x="16282" y="2836"/>
                    <a:pt x="13721" y="0"/>
                    <a:pt x="10752" y="0"/>
                  </a:cubicBezTo>
                  <a:cubicBezTo>
                    <a:pt x="7135" y="0"/>
                    <a:pt x="4122" y="4198"/>
                    <a:pt x="3488" y="9719"/>
                  </a:cubicBezTo>
                  <a:lnTo>
                    <a:pt x="1680" y="9719"/>
                  </a:lnTo>
                  <a:cubicBezTo>
                    <a:pt x="754" y="9719"/>
                    <a:pt x="0" y="10930"/>
                    <a:pt x="0" y="12419"/>
                  </a:cubicBezTo>
                  <a:cubicBezTo>
                    <a:pt x="0" y="12949"/>
                    <a:pt x="121" y="13459"/>
                    <a:pt x="339" y="13855"/>
                  </a:cubicBezTo>
                  <a:lnTo>
                    <a:pt x="2688" y="18101"/>
                  </a:lnTo>
                  <a:lnTo>
                    <a:pt x="2688" y="18899"/>
                  </a:lnTo>
                  <a:cubicBezTo>
                    <a:pt x="2688" y="20389"/>
                    <a:pt x="3442" y="21599"/>
                    <a:pt x="4368" y="21599"/>
                  </a:cubicBezTo>
                  <a:lnTo>
                    <a:pt x="17136" y="21599"/>
                  </a:lnTo>
                  <a:cubicBezTo>
                    <a:pt x="18062" y="21599"/>
                    <a:pt x="18816" y="20389"/>
                    <a:pt x="18816" y="18899"/>
                  </a:cubicBezTo>
                  <a:lnTo>
                    <a:pt x="18816" y="18101"/>
                  </a:lnTo>
                  <a:lnTo>
                    <a:pt x="21165" y="13855"/>
                  </a:lnTo>
                  <a:cubicBezTo>
                    <a:pt x="21383" y="13459"/>
                    <a:pt x="21504" y="12949"/>
                    <a:pt x="21504" y="12419"/>
                  </a:cubicBezTo>
                  <a:cubicBezTo>
                    <a:pt x="21504" y="10930"/>
                    <a:pt x="20750" y="9719"/>
                    <a:pt x="19824" y="9719"/>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38" name="AutoShape 34">
              <a:extLst>
                <a:ext uri="{FF2B5EF4-FFF2-40B4-BE49-F238E27FC236}">
                  <a16:creationId xmlns:a16="http://schemas.microsoft.com/office/drawing/2014/main" id="{A8F744FB-A94F-48DD-8410-FE07CA7FF32A}"/>
                </a:ext>
              </a:extLst>
            </p:cNvPr>
            <p:cNvSpPr>
              <a:spLocks/>
            </p:cNvSpPr>
            <p:nvPr/>
          </p:nvSpPr>
          <p:spPr bwMode="auto">
            <a:xfrm>
              <a:off x="8320204" y="4032572"/>
              <a:ext cx="33338" cy="108744"/>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47"/>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6"/>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1"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39" name="AutoShape 35">
              <a:extLst>
                <a:ext uri="{FF2B5EF4-FFF2-40B4-BE49-F238E27FC236}">
                  <a16:creationId xmlns:a16="http://schemas.microsoft.com/office/drawing/2014/main" id="{F049506C-61DC-4D6F-BB06-1F9513D20BD2}"/>
                </a:ext>
              </a:extLst>
            </p:cNvPr>
            <p:cNvSpPr>
              <a:spLocks/>
            </p:cNvSpPr>
            <p:nvPr/>
          </p:nvSpPr>
          <p:spPr bwMode="auto">
            <a:xfrm>
              <a:off x="8494829" y="4032572"/>
              <a:ext cx="32544" cy="108744"/>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50"/>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6"/>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1"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40" name="AutoShape 36">
              <a:extLst>
                <a:ext uri="{FF2B5EF4-FFF2-40B4-BE49-F238E27FC236}">
                  <a16:creationId xmlns:a16="http://schemas.microsoft.com/office/drawing/2014/main" id="{F3ED0F78-55DE-4E60-966F-CADA19DA0744}"/>
                </a:ext>
              </a:extLst>
            </p:cNvPr>
            <p:cNvSpPr>
              <a:spLocks/>
            </p:cNvSpPr>
            <p:nvPr/>
          </p:nvSpPr>
          <p:spPr bwMode="auto">
            <a:xfrm>
              <a:off x="8421804" y="3973834"/>
              <a:ext cx="33338" cy="109538"/>
            </a:xfrm>
            <a:custGeom>
              <a:avLst/>
              <a:gdLst>
                <a:gd name="T0" fmla="+- 0 10758 2273"/>
                <a:gd name="T1" fmla="*/ T0 w 16970"/>
                <a:gd name="T2" fmla="*/ 10800 h 21600"/>
                <a:gd name="T3" fmla="+- 0 10758 2273"/>
                <a:gd name="T4" fmla="*/ T3 w 16970"/>
                <a:gd name="T5" fmla="*/ 10800 h 21600"/>
                <a:gd name="T6" fmla="+- 0 10758 2273"/>
                <a:gd name="T7" fmla="*/ T6 w 16970"/>
                <a:gd name="T8" fmla="*/ 10800 h 21600"/>
                <a:gd name="T9" fmla="+- 0 10758 2273"/>
                <a:gd name="T10" fmla="*/ T9 w 16970"/>
                <a:gd name="T11" fmla="*/ 10800 h 21600"/>
              </a:gdLst>
              <a:ahLst/>
              <a:cxnLst>
                <a:cxn ang="0">
                  <a:pos x="T1" y="T2"/>
                </a:cxn>
                <a:cxn ang="0">
                  <a:pos x="T4" y="T5"/>
                </a:cxn>
                <a:cxn ang="0">
                  <a:pos x="T7" y="T8"/>
                </a:cxn>
                <a:cxn ang="0">
                  <a:pos x="T10" y="T11"/>
                </a:cxn>
              </a:cxnLst>
              <a:rect l="0" t="0" r="r" b="b"/>
              <a:pathLst>
                <a:path w="16970" h="21600">
                  <a:moveTo>
                    <a:pt x="1763" y="20770"/>
                  </a:moveTo>
                  <a:cubicBezTo>
                    <a:pt x="1785" y="20787"/>
                    <a:pt x="1800" y="20804"/>
                    <a:pt x="1822" y="20820"/>
                  </a:cubicBezTo>
                  <a:lnTo>
                    <a:pt x="1840" y="20820"/>
                  </a:lnTo>
                  <a:cubicBezTo>
                    <a:pt x="2471" y="21282"/>
                    <a:pt x="3719" y="21600"/>
                    <a:pt x="5169" y="21600"/>
                  </a:cubicBezTo>
                  <a:cubicBezTo>
                    <a:pt x="7249" y="21600"/>
                    <a:pt x="8949" y="20950"/>
                    <a:pt x="8949" y="20151"/>
                  </a:cubicBezTo>
                  <a:cubicBezTo>
                    <a:pt x="8949" y="20027"/>
                    <a:pt x="8890" y="19906"/>
                    <a:pt x="8813" y="19791"/>
                  </a:cubicBezTo>
                  <a:cubicBezTo>
                    <a:pt x="8827" y="19771"/>
                    <a:pt x="8827" y="19755"/>
                    <a:pt x="8805" y="19735"/>
                  </a:cubicBezTo>
                  <a:cubicBezTo>
                    <a:pt x="5994" y="17195"/>
                    <a:pt x="8670" y="14408"/>
                    <a:pt x="11954" y="11407"/>
                  </a:cubicBezTo>
                  <a:cubicBezTo>
                    <a:pt x="15517" y="8164"/>
                    <a:pt x="19327" y="4564"/>
                    <a:pt x="15125" y="902"/>
                  </a:cubicBezTo>
                  <a:cubicBezTo>
                    <a:pt x="14593" y="374"/>
                    <a:pt x="13264" y="0"/>
                    <a:pt x="11701" y="0"/>
                  </a:cubicBezTo>
                  <a:cubicBezTo>
                    <a:pt x="9671" y="0"/>
                    <a:pt x="8016" y="632"/>
                    <a:pt x="8016" y="1411"/>
                  </a:cubicBezTo>
                  <a:cubicBezTo>
                    <a:pt x="8016" y="1583"/>
                    <a:pt x="8108" y="1749"/>
                    <a:pt x="8259" y="1898"/>
                  </a:cubicBezTo>
                  <a:cubicBezTo>
                    <a:pt x="8259" y="1904"/>
                    <a:pt x="8259" y="1909"/>
                    <a:pt x="8266" y="1915"/>
                  </a:cubicBezTo>
                  <a:cubicBezTo>
                    <a:pt x="8273" y="1923"/>
                    <a:pt x="8281" y="1932"/>
                    <a:pt x="8295" y="1940"/>
                  </a:cubicBezTo>
                  <a:lnTo>
                    <a:pt x="8325" y="1974"/>
                  </a:lnTo>
                  <a:cubicBezTo>
                    <a:pt x="11360" y="4592"/>
                    <a:pt x="8424" y="7275"/>
                    <a:pt x="5106" y="10305"/>
                  </a:cubicBezTo>
                  <a:cubicBezTo>
                    <a:pt x="1605" y="13500"/>
                    <a:pt x="-2273" y="17040"/>
                    <a:pt x="1635" y="20649"/>
                  </a:cubicBezTo>
                  <a:cubicBezTo>
                    <a:pt x="1675" y="20691"/>
                    <a:pt x="1719" y="20730"/>
                    <a:pt x="1763" y="2077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sp>
        <p:nvSpPr>
          <p:cNvPr id="41" name="Freeform 76">
            <a:extLst>
              <a:ext uri="{FF2B5EF4-FFF2-40B4-BE49-F238E27FC236}">
                <a16:creationId xmlns:a16="http://schemas.microsoft.com/office/drawing/2014/main" id="{949BDE8B-CAC1-4482-96A7-F79D08D26218}"/>
              </a:ext>
            </a:extLst>
          </p:cNvPr>
          <p:cNvSpPr>
            <a:spLocks noEditPoints="1"/>
          </p:cNvSpPr>
          <p:nvPr/>
        </p:nvSpPr>
        <p:spPr bwMode="auto">
          <a:xfrm>
            <a:off x="-734980" y="3389372"/>
            <a:ext cx="323508" cy="297549"/>
          </a:xfrm>
          <a:custGeom>
            <a:avLst/>
            <a:gdLst/>
            <a:ahLst/>
            <a:cxnLst>
              <a:cxn ang="0">
                <a:pos x="51" y="15"/>
              </a:cxn>
              <a:cxn ang="0">
                <a:pos x="0" y="44"/>
              </a:cxn>
              <a:cxn ang="0">
                <a:pos x="37" y="94"/>
              </a:cxn>
              <a:cxn ang="0">
                <a:pos x="51" y="87"/>
              </a:cxn>
              <a:cxn ang="0">
                <a:pos x="66" y="94"/>
              </a:cxn>
              <a:cxn ang="0">
                <a:pos x="102" y="44"/>
              </a:cxn>
              <a:cxn ang="0">
                <a:pos x="51" y="15"/>
              </a:cxn>
              <a:cxn ang="0">
                <a:pos x="22" y="73"/>
              </a:cxn>
              <a:cxn ang="0">
                <a:pos x="22" y="22"/>
              </a:cxn>
              <a:cxn ang="0">
                <a:pos x="37" y="22"/>
              </a:cxn>
              <a:cxn ang="0">
                <a:pos x="22" y="73"/>
              </a:cxn>
            </a:cxnLst>
            <a:rect l="0" t="0" r="r" b="b"/>
            <a:pathLst>
              <a:path w="102" h="94">
                <a:moveTo>
                  <a:pt x="51" y="15"/>
                </a:moveTo>
                <a:cubicBezTo>
                  <a:pt x="13" y="0"/>
                  <a:pt x="0" y="22"/>
                  <a:pt x="0" y="44"/>
                </a:cubicBezTo>
                <a:cubicBezTo>
                  <a:pt x="0" y="65"/>
                  <a:pt x="26" y="94"/>
                  <a:pt x="37" y="94"/>
                </a:cubicBezTo>
                <a:cubicBezTo>
                  <a:pt x="51" y="94"/>
                  <a:pt x="51" y="87"/>
                  <a:pt x="51" y="87"/>
                </a:cubicBezTo>
                <a:cubicBezTo>
                  <a:pt x="51" y="87"/>
                  <a:pt x="51" y="94"/>
                  <a:pt x="66" y="94"/>
                </a:cubicBezTo>
                <a:cubicBezTo>
                  <a:pt x="76" y="94"/>
                  <a:pt x="102" y="65"/>
                  <a:pt x="102" y="44"/>
                </a:cubicBezTo>
                <a:cubicBezTo>
                  <a:pt x="102" y="22"/>
                  <a:pt x="89" y="0"/>
                  <a:pt x="51" y="15"/>
                </a:cubicBezTo>
                <a:close/>
                <a:moveTo>
                  <a:pt x="22" y="73"/>
                </a:moveTo>
                <a:cubicBezTo>
                  <a:pt x="0" y="44"/>
                  <a:pt x="22" y="22"/>
                  <a:pt x="22" y="22"/>
                </a:cubicBezTo>
                <a:cubicBezTo>
                  <a:pt x="37" y="22"/>
                  <a:pt x="37" y="22"/>
                  <a:pt x="37" y="22"/>
                </a:cubicBezTo>
                <a:cubicBezTo>
                  <a:pt x="37" y="22"/>
                  <a:pt x="22" y="36"/>
                  <a:pt x="22" y="73"/>
                </a:cubicBezTo>
                <a:close/>
              </a:path>
            </a:pathLst>
          </a:custGeom>
          <a:solidFill>
            <a:schemeClr val="tx2"/>
          </a:solidFill>
          <a:ln w="9525">
            <a:noFill/>
            <a:round/>
            <a:headEnd/>
            <a:tailEnd/>
          </a:ln>
        </p:spPr>
        <p:txBody>
          <a:bodyPr/>
          <a:lstStyle/>
          <a:p>
            <a:pPr fontAlgn="auto">
              <a:spcBef>
                <a:spcPts val="0"/>
              </a:spcBef>
              <a:spcAft>
                <a:spcPts val="0"/>
              </a:spcAft>
              <a:defRPr/>
            </a:pPr>
            <a:endParaRPr lang="en-US" dirty="0">
              <a:latin typeface="+mn-lt"/>
              <a:ea typeface="+mn-ea"/>
            </a:endParaRPr>
          </a:p>
        </p:txBody>
      </p:sp>
      <p:sp>
        <p:nvSpPr>
          <p:cNvPr id="42" name="Freeform 103">
            <a:extLst>
              <a:ext uri="{FF2B5EF4-FFF2-40B4-BE49-F238E27FC236}">
                <a16:creationId xmlns:a16="http://schemas.microsoft.com/office/drawing/2014/main" id="{2AB90B1D-EAC7-4A41-B5EC-E82665F4E306}"/>
              </a:ext>
            </a:extLst>
          </p:cNvPr>
          <p:cNvSpPr>
            <a:spLocks noEditPoints="1"/>
          </p:cNvSpPr>
          <p:nvPr/>
        </p:nvSpPr>
        <p:spPr bwMode="auto">
          <a:xfrm>
            <a:off x="1040181" y="1633511"/>
            <a:ext cx="365320" cy="235638"/>
          </a:xfrm>
          <a:custGeom>
            <a:avLst/>
            <a:gdLst/>
            <a:ahLst/>
            <a:cxnLst>
              <a:cxn ang="0">
                <a:pos x="14" y="65"/>
              </a:cxn>
              <a:cxn ang="0">
                <a:pos x="58" y="65"/>
              </a:cxn>
              <a:cxn ang="0">
                <a:pos x="72" y="51"/>
              </a:cxn>
              <a:cxn ang="0">
                <a:pos x="94" y="29"/>
              </a:cxn>
              <a:cxn ang="0">
                <a:pos x="72" y="7"/>
              </a:cxn>
              <a:cxn ang="0">
                <a:pos x="72" y="0"/>
              </a:cxn>
              <a:cxn ang="0">
                <a:pos x="0" y="0"/>
              </a:cxn>
              <a:cxn ang="0">
                <a:pos x="0" y="51"/>
              </a:cxn>
              <a:cxn ang="0">
                <a:pos x="14" y="65"/>
              </a:cxn>
              <a:cxn ang="0">
                <a:pos x="87" y="29"/>
              </a:cxn>
              <a:cxn ang="0">
                <a:pos x="72" y="44"/>
              </a:cxn>
              <a:cxn ang="0">
                <a:pos x="72" y="14"/>
              </a:cxn>
              <a:cxn ang="0">
                <a:pos x="87" y="29"/>
              </a:cxn>
              <a:cxn ang="0">
                <a:pos x="7" y="7"/>
              </a:cxn>
              <a:cxn ang="0">
                <a:pos x="14" y="7"/>
              </a:cxn>
              <a:cxn ang="0">
                <a:pos x="14" y="58"/>
              </a:cxn>
              <a:cxn ang="0">
                <a:pos x="7" y="51"/>
              </a:cxn>
              <a:cxn ang="0">
                <a:pos x="7" y="7"/>
              </a:cxn>
            </a:cxnLst>
            <a:rect l="0" t="0" r="r" b="b"/>
            <a:pathLst>
              <a:path w="94" h="65">
                <a:moveTo>
                  <a:pt x="14" y="65"/>
                </a:moveTo>
                <a:cubicBezTo>
                  <a:pt x="58" y="65"/>
                  <a:pt x="58" y="65"/>
                  <a:pt x="58" y="65"/>
                </a:cubicBezTo>
                <a:cubicBezTo>
                  <a:pt x="66" y="65"/>
                  <a:pt x="72" y="59"/>
                  <a:pt x="72" y="51"/>
                </a:cubicBezTo>
                <a:cubicBezTo>
                  <a:pt x="84" y="51"/>
                  <a:pt x="94" y="41"/>
                  <a:pt x="94" y="29"/>
                </a:cubicBezTo>
                <a:cubicBezTo>
                  <a:pt x="94" y="17"/>
                  <a:pt x="84" y="7"/>
                  <a:pt x="72" y="7"/>
                </a:cubicBezTo>
                <a:cubicBezTo>
                  <a:pt x="72" y="0"/>
                  <a:pt x="72" y="0"/>
                  <a:pt x="72" y="0"/>
                </a:cubicBezTo>
                <a:cubicBezTo>
                  <a:pt x="0" y="0"/>
                  <a:pt x="0" y="0"/>
                  <a:pt x="0" y="0"/>
                </a:cubicBezTo>
                <a:cubicBezTo>
                  <a:pt x="0" y="51"/>
                  <a:pt x="0" y="51"/>
                  <a:pt x="0" y="51"/>
                </a:cubicBezTo>
                <a:cubicBezTo>
                  <a:pt x="0" y="59"/>
                  <a:pt x="6" y="65"/>
                  <a:pt x="14" y="65"/>
                </a:cubicBezTo>
                <a:close/>
                <a:moveTo>
                  <a:pt x="87" y="29"/>
                </a:moveTo>
                <a:cubicBezTo>
                  <a:pt x="87" y="37"/>
                  <a:pt x="80" y="44"/>
                  <a:pt x="72" y="44"/>
                </a:cubicBezTo>
                <a:cubicBezTo>
                  <a:pt x="72" y="14"/>
                  <a:pt x="72" y="14"/>
                  <a:pt x="72" y="14"/>
                </a:cubicBezTo>
                <a:cubicBezTo>
                  <a:pt x="80" y="14"/>
                  <a:pt x="87" y="21"/>
                  <a:pt x="87" y="29"/>
                </a:cubicBezTo>
                <a:close/>
                <a:moveTo>
                  <a:pt x="7" y="7"/>
                </a:moveTo>
                <a:cubicBezTo>
                  <a:pt x="14" y="7"/>
                  <a:pt x="14" y="7"/>
                  <a:pt x="14" y="7"/>
                </a:cubicBezTo>
                <a:cubicBezTo>
                  <a:pt x="14" y="58"/>
                  <a:pt x="14" y="58"/>
                  <a:pt x="14" y="58"/>
                </a:cubicBezTo>
                <a:cubicBezTo>
                  <a:pt x="10" y="58"/>
                  <a:pt x="7" y="55"/>
                  <a:pt x="7" y="51"/>
                </a:cubicBezTo>
                <a:lnTo>
                  <a:pt x="7" y="7"/>
                </a:lnTo>
                <a:close/>
              </a:path>
            </a:pathLst>
          </a:custGeom>
          <a:solidFill>
            <a:srgbClr val="C00000"/>
          </a:solidFill>
          <a:ln w="9525">
            <a:noFill/>
            <a:round/>
            <a:headEnd/>
            <a:tailEnd/>
          </a:ln>
        </p:spPr>
        <p:txBody>
          <a:bodyPr/>
          <a:lstStyle/>
          <a:p>
            <a:pPr fontAlgn="auto">
              <a:spcBef>
                <a:spcPts val="0"/>
              </a:spcBef>
              <a:spcAft>
                <a:spcPts val="0"/>
              </a:spcAft>
              <a:defRPr/>
            </a:pPr>
            <a:endParaRPr lang="en-US" dirty="0">
              <a:latin typeface="+mn-lt"/>
              <a:ea typeface="+mn-ea"/>
            </a:endParaRPr>
          </a:p>
        </p:txBody>
      </p:sp>
      <p:sp>
        <p:nvSpPr>
          <p:cNvPr id="43" name="Freeform: Shape 42">
            <a:extLst>
              <a:ext uri="{FF2B5EF4-FFF2-40B4-BE49-F238E27FC236}">
                <a16:creationId xmlns:a16="http://schemas.microsoft.com/office/drawing/2014/main" id="{4FE31B9D-9030-4908-ACFD-B3C19510A9BD}"/>
              </a:ext>
            </a:extLst>
          </p:cNvPr>
          <p:cNvSpPr/>
          <p:nvPr/>
        </p:nvSpPr>
        <p:spPr>
          <a:xfrm rot="5400000" flipV="1">
            <a:off x="2660355" y="1910816"/>
            <a:ext cx="15327032" cy="3736257"/>
          </a:xfrm>
          <a:custGeom>
            <a:avLst/>
            <a:gdLst>
              <a:gd name="connsiteX0" fmla="*/ 3496830 w 14016418"/>
              <a:gd name="connsiteY0" fmla="*/ 0 h 3476116"/>
              <a:gd name="connsiteX1" fmla="*/ 14016418 w 14016418"/>
              <a:gd name="connsiteY1" fmla="*/ 0 h 3476116"/>
              <a:gd name="connsiteX2" fmla="*/ 10572907 w 14016418"/>
              <a:gd name="connsiteY2" fmla="*/ 3476116 h 3476116"/>
              <a:gd name="connsiteX3" fmla="*/ 14459 w 14016418"/>
              <a:gd name="connsiteY3" fmla="*/ 3476116 h 3476116"/>
              <a:gd name="connsiteX4" fmla="*/ 0 w 14016418"/>
              <a:gd name="connsiteY4" fmla="*/ 3461681 h 3476116"/>
              <a:gd name="connsiteX5" fmla="*/ 3496830 w 14016418"/>
              <a:gd name="connsiteY5" fmla="*/ 0 h 347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16418" h="3476116">
                <a:moveTo>
                  <a:pt x="3496830" y="0"/>
                </a:moveTo>
                <a:lnTo>
                  <a:pt x="14016418" y="0"/>
                </a:lnTo>
                <a:lnTo>
                  <a:pt x="10572907" y="3476116"/>
                </a:lnTo>
                <a:lnTo>
                  <a:pt x="14459" y="3476116"/>
                </a:lnTo>
                <a:lnTo>
                  <a:pt x="0" y="3461681"/>
                </a:lnTo>
                <a:lnTo>
                  <a:pt x="349683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p>
        </p:txBody>
      </p:sp>
      <p:sp>
        <p:nvSpPr>
          <p:cNvPr id="44" name="Title 7">
            <a:extLst>
              <a:ext uri="{FF2B5EF4-FFF2-40B4-BE49-F238E27FC236}">
                <a16:creationId xmlns:a16="http://schemas.microsoft.com/office/drawing/2014/main" id="{DCFEE598-1C4D-4DDF-A566-AB630C8F7431}"/>
              </a:ext>
            </a:extLst>
          </p:cNvPr>
          <p:cNvSpPr txBox="1">
            <a:spLocks/>
          </p:cNvSpPr>
          <p:nvPr/>
        </p:nvSpPr>
        <p:spPr>
          <a:xfrm>
            <a:off x="1469597" y="2972426"/>
            <a:ext cx="10609659" cy="492124"/>
          </a:xfrm>
          <a:prstGeom prst="rect">
            <a:avLst/>
          </a:prstGeom>
        </p:spPr>
        <p:txBody>
          <a:bodyPr anchor="ctr"/>
          <a:lstStyle>
            <a:lvl1pPr algn="l" defTabSz="914400" rtl="0" eaLnBrk="1" latinLnBrk="0" hangingPunct="1">
              <a:lnSpc>
                <a:spcPct val="90000"/>
              </a:lnSpc>
              <a:spcBef>
                <a:spcPct val="0"/>
              </a:spcBef>
              <a:buNone/>
              <a:defRPr sz="3600" kern="1200" spc="0">
                <a:solidFill>
                  <a:schemeClr val="tx1">
                    <a:lumMod val="65000"/>
                    <a:lumOff val="35000"/>
                  </a:schemeClr>
                </a:solidFill>
                <a:latin typeface="Aller" panose="020B0503030302020204" pitchFamily="34" charset="0"/>
                <a:ea typeface="+mj-ea"/>
                <a:cs typeface="+mj-cs"/>
              </a:defRPr>
            </a:lvl1pPr>
          </a:lstStyle>
          <a:p>
            <a:r>
              <a:rPr lang="en-US" dirty="0"/>
              <a:t>Business Problem</a:t>
            </a:r>
            <a:endParaRPr lang="id-ID" dirty="0"/>
          </a:p>
        </p:txBody>
      </p:sp>
      <p:sp>
        <p:nvSpPr>
          <p:cNvPr id="45" name="TextBox 44">
            <a:extLst>
              <a:ext uri="{FF2B5EF4-FFF2-40B4-BE49-F238E27FC236}">
                <a16:creationId xmlns:a16="http://schemas.microsoft.com/office/drawing/2014/main" id="{793F9B90-C98F-40F2-88B3-F69E01D3F1C1}"/>
              </a:ext>
            </a:extLst>
          </p:cNvPr>
          <p:cNvSpPr txBox="1"/>
          <p:nvPr/>
        </p:nvSpPr>
        <p:spPr>
          <a:xfrm>
            <a:off x="2166730" y="3480773"/>
            <a:ext cx="4994725" cy="1174617"/>
          </a:xfrm>
          <a:prstGeom prst="rect">
            <a:avLst/>
          </a:prstGeom>
          <a:noFill/>
        </p:spPr>
        <p:txBody>
          <a:bodyPr wrap="square" rtlCol="0">
            <a:spAutoFit/>
          </a:bodyPr>
          <a:lstStyle>
            <a:defPPr>
              <a:defRPr lang="id-ID"/>
            </a:defPPr>
            <a:lvl1pPr algn="ctr">
              <a:lnSpc>
                <a:spcPct val="120000"/>
              </a:lnSpc>
              <a:defRPr sz="1200">
                <a:solidFill>
                  <a:schemeClr val="tx1">
                    <a:lumMod val="65000"/>
                    <a:lumOff val="35000"/>
                  </a:schemeClr>
                </a:solidFill>
                <a:latin typeface="Segoe UI" panose="020B0502040204020203" pitchFamily="34" charset="0"/>
                <a:cs typeface="Segoe UI" panose="020B0502040204020203" pitchFamily="34" charset="0"/>
              </a:defRPr>
            </a:lvl1pPr>
          </a:lstStyle>
          <a:p>
            <a:pPr algn="just"/>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The goal of our project is to predict stars and type of reviews that restaurants received based on the overall data. On the other hand, we also worked on recommending restaurants to users based on stars received.</a:t>
            </a:r>
          </a:p>
        </p:txBody>
      </p:sp>
      <p:pic>
        <p:nvPicPr>
          <p:cNvPr id="11" name="Picture 10" descr="A store front at day&#10;&#10;Description automatically generated">
            <a:extLst>
              <a:ext uri="{FF2B5EF4-FFF2-40B4-BE49-F238E27FC236}">
                <a16:creationId xmlns:a16="http://schemas.microsoft.com/office/drawing/2014/main" id="{6A8FD681-ED8B-4786-BC23-5D7D7D0FAF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25373" y="423191"/>
            <a:ext cx="4073883" cy="6110824"/>
          </a:xfrm>
          <a:prstGeom prst="rect">
            <a:avLst/>
          </a:prstGeom>
        </p:spPr>
      </p:pic>
      <p:sp>
        <p:nvSpPr>
          <p:cNvPr id="25" name="Title 7">
            <a:extLst>
              <a:ext uri="{FF2B5EF4-FFF2-40B4-BE49-F238E27FC236}">
                <a16:creationId xmlns:a16="http://schemas.microsoft.com/office/drawing/2014/main" id="{C0DE5DBE-21CE-4DBE-9FB4-9D053D07905D}"/>
              </a:ext>
            </a:extLst>
          </p:cNvPr>
          <p:cNvSpPr txBox="1">
            <a:spLocks/>
          </p:cNvSpPr>
          <p:nvPr/>
        </p:nvSpPr>
        <p:spPr>
          <a:xfrm>
            <a:off x="2231951" y="4751414"/>
            <a:ext cx="10584543" cy="492124"/>
          </a:xfrm>
          <a:prstGeom prst="rect">
            <a:avLst/>
          </a:prstGeom>
        </p:spPr>
        <p:txBody>
          <a:bodyPr anchor="ctr"/>
          <a:lstStyle>
            <a:lvl1pPr algn="l" defTabSz="914400" rtl="0" eaLnBrk="1" latinLnBrk="0" hangingPunct="1">
              <a:lnSpc>
                <a:spcPct val="90000"/>
              </a:lnSpc>
              <a:spcBef>
                <a:spcPct val="0"/>
              </a:spcBef>
              <a:buNone/>
              <a:defRPr sz="3600" kern="1200" spc="0">
                <a:solidFill>
                  <a:schemeClr val="tx1">
                    <a:lumMod val="65000"/>
                    <a:lumOff val="35000"/>
                  </a:schemeClr>
                </a:solidFill>
                <a:latin typeface="Aller" panose="020B0503030302020204" pitchFamily="34" charset="0"/>
                <a:ea typeface="+mj-ea"/>
                <a:cs typeface="+mj-cs"/>
              </a:defRPr>
            </a:lvl1pPr>
          </a:lstStyle>
          <a:p>
            <a:r>
              <a:rPr lang="en-US" dirty="0"/>
              <a:t>Data</a:t>
            </a:r>
            <a:endParaRPr lang="id-ID" dirty="0"/>
          </a:p>
        </p:txBody>
      </p:sp>
      <p:sp>
        <p:nvSpPr>
          <p:cNvPr id="26" name="TextBox 25">
            <a:extLst>
              <a:ext uri="{FF2B5EF4-FFF2-40B4-BE49-F238E27FC236}">
                <a16:creationId xmlns:a16="http://schemas.microsoft.com/office/drawing/2014/main" id="{FBF5E182-5B6F-4A7A-9563-F23BD6ECA364}"/>
              </a:ext>
            </a:extLst>
          </p:cNvPr>
          <p:cNvSpPr txBox="1"/>
          <p:nvPr/>
        </p:nvSpPr>
        <p:spPr>
          <a:xfrm>
            <a:off x="2841333" y="5262998"/>
            <a:ext cx="4687959" cy="1174617"/>
          </a:xfrm>
          <a:prstGeom prst="rect">
            <a:avLst/>
          </a:prstGeom>
          <a:noFill/>
        </p:spPr>
        <p:txBody>
          <a:bodyPr wrap="square" rtlCol="0">
            <a:spAutoFit/>
          </a:bodyPr>
          <a:lstStyle>
            <a:defPPr>
              <a:defRPr lang="id-ID"/>
            </a:defPPr>
            <a:lvl1pPr algn="ctr">
              <a:lnSpc>
                <a:spcPct val="120000"/>
              </a:lnSpc>
              <a:defRPr sz="1200">
                <a:solidFill>
                  <a:schemeClr val="tx1">
                    <a:lumMod val="65000"/>
                    <a:lumOff val="35000"/>
                  </a:schemeClr>
                </a:solidFill>
                <a:latin typeface="Segoe UI" panose="020B0502040204020203" pitchFamily="34" charset="0"/>
                <a:cs typeface="Segoe UI" panose="020B0502040204020203" pitchFamily="34" charset="0"/>
              </a:defRPr>
            </a:lvl1pPr>
          </a:lstStyle>
          <a:p>
            <a:pPr marL="285750" indent="-28575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Yelp Data (8GB) – Kaggle competition</a:t>
            </a:r>
          </a:p>
          <a:p>
            <a:pPr marL="285750" indent="-28575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Datasets used – Business, Reviews and User</a:t>
            </a:r>
          </a:p>
          <a:p>
            <a:pPr marL="285750" indent="-28575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Data cleaning, exploratory &amp; modeling – </a:t>
            </a:r>
            <a:r>
              <a:rPr lang="en-US" sz="1500" dirty="0" err="1">
                <a:solidFill>
                  <a:schemeClr val="tx1">
                    <a:lumMod val="50000"/>
                    <a:lumOff val="50000"/>
                  </a:schemeClr>
                </a:solidFill>
                <a:latin typeface="Segoe UI Light" panose="020B0502040204020203" pitchFamily="34" charset="0"/>
                <a:cs typeface="Segoe UI Light" panose="020B0502040204020203" pitchFamily="34" charset="0"/>
              </a:rPr>
              <a:t>Pyspark</a:t>
            </a:r>
            <a:endParaRPr lang="en-US" sz="1500" dirty="0">
              <a:solidFill>
                <a:schemeClr val="tx1">
                  <a:lumMod val="50000"/>
                  <a:lumOff val="50000"/>
                </a:schemeClr>
              </a:solidFill>
              <a:latin typeface="Segoe UI Light" panose="020B0502040204020203" pitchFamily="34" charset="0"/>
              <a:cs typeface="Segoe UI Light" panose="020B0502040204020203" pitchFamily="34" charset="0"/>
            </a:endParaRPr>
          </a:p>
          <a:p>
            <a:pPr marL="285750" indent="-285750" algn="just">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Google Cloud – 1 Master node &amp; worker node</a:t>
            </a:r>
          </a:p>
        </p:txBody>
      </p:sp>
      <p:sp>
        <p:nvSpPr>
          <p:cNvPr id="28" name="Freeform 56">
            <a:extLst>
              <a:ext uri="{FF2B5EF4-FFF2-40B4-BE49-F238E27FC236}">
                <a16:creationId xmlns:a16="http://schemas.microsoft.com/office/drawing/2014/main" id="{F721AEE8-405B-447B-9761-CEA8FB5973F1}"/>
              </a:ext>
            </a:extLst>
          </p:cNvPr>
          <p:cNvSpPr>
            <a:spLocks noEditPoints="1"/>
          </p:cNvSpPr>
          <p:nvPr/>
        </p:nvSpPr>
        <p:spPr bwMode="auto">
          <a:xfrm>
            <a:off x="2486322" y="5514334"/>
            <a:ext cx="301396" cy="383975"/>
          </a:xfrm>
          <a:custGeom>
            <a:avLst/>
            <a:gdLst>
              <a:gd name="T0" fmla="*/ 396429 w 256"/>
              <a:gd name="T1" fmla="*/ 358775 h 220"/>
              <a:gd name="T2" fmla="*/ 19496 w 256"/>
              <a:gd name="T3" fmla="*/ 358775 h 220"/>
              <a:gd name="T4" fmla="*/ 0 w 256"/>
              <a:gd name="T5" fmla="*/ 339205 h 220"/>
              <a:gd name="T6" fmla="*/ 0 w 256"/>
              <a:gd name="T7" fmla="*/ 215265 h 220"/>
              <a:gd name="T8" fmla="*/ 0 w 256"/>
              <a:gd name="T9" fmla="*/ 215265 h 220"/>
              <a:gd name="T10" fmla="*/ 1625 w 256"/>
              <a:gd name="T11" fmla="*/ 208742 h 220"/>
              <a:gd name="T12" fmla="*/ 53615 w 256"/>
              <a:gd name="T13" fmla="*/ 71755 h 220"/>
              <a:gd name="T14" fmla="*/ 71487 w 256"/>
              <a:gd name="T15" fmla="*/ 58709 h 220"/>
              <a:gd name="T16" fmla="*/ 103981 w 256"/>
              <a:gd name="T17" fmla="*/ 58709 h 220"/>
              <a:gd name="T18" fmla="*/ 168970 w 256"/>
              <a:gd name="T19" fmla="*/ 58709 h 220"/>
              <a:gd name="T20" fmla="*/ 168970 w 256"/>
              <a:gd name="T21" fmla="*/ 71755 h 220"/>
              <a:gd name="T22" fmla="*/ 168970 w 256"/>
              <a:gd name="T23" fmla="*/ 97848 h 220"/>
              <a:gd name="T24" fmla="*/ 103981 w 256"/>
              <a:gd name="T25" fmla="*/ 97848 h 220"/>
              <a:gd name="T26" fmla="*/ 84485 w 256"/>
              <a:gd name="T27" fmla="*/ 97848 h 220"/>
              <a:gd name="T28" fmla="*/ 47117 w 256"/>
              <a:gd name="T29" fmla="*/ 195695 h 220"/>
              <a:gd name="T30" fmla="*/ 90984 w 256"/>
              <a:gd name="T31" fmla="*/ 195695 h 220"/>
              <a:gd name="T32" fmla="*/ 110480 w 256"/>
              <a:gd name="T33" fmla="*/ 195695 h 220"/>
              <a:gd name="T34" fmla="*/ 129977 w 256"/>
              <a:gd name="T35" fmla="*/ 215265 h 220"/>
              <a:gd name="T36" fmla="*/ 129977 w 256"/>
              <a:gd name="T37" fmla="*/ 234835 h 220"/>
              <a:gd name="T38" fmla="*/ 285948 w 256"/>
              <a:gd name="T39" fmla="*/ 234835 h 220"/>
              <a:gd name="T40" fmla="*/ 285948 w 256"/>
              <a:gd name="T41" fmla="*/ 215265 h 220"/>
              <a:gd name="T42" fmla="*/ 305445 w 256"/>
              <a:gd name="T43" fmla="*/ 195695 h 220"/>
              <a:gd name="T44" fmla="*/ 324941 w 256"/>
              <a:gd name="T45" fmla="*/ 195695 h 220"/>
              <a:gd name="T46" fmla="*/ 368808 w 256"/>
              <a:gd name="T47" fmla="*/ 195695 h 220"/>
              <a:gd name="T48" fmla="*/ 331440 w 256"/>
              <a:gd name="T49" fmla="*/ 97848 h 220"/>
              <a:gd name="T50" fmla="*/ 311944 w 256"/>
              <a:gd name="T51" fmla="*/ 97848 h 220"/>
              <a:gd name="T52" fmla="*/ 246955 w 256"/>
              <a:gd name="T53" fmla="*/ 97848 h 220"/>
              <a:gd name="T54" fmla="*/ 246955 w 256"/>
              <a:gd name="T55" fmla="*/ 71755 h 220"/>
              <a:gd name="T56" fmla="*/ 246955 w 256"/>
              <a:gd name="T57" fmla="*/ 58709 h 220"/>
              <a:gd name="T58" fmla="*/ 311944 w 256"/>
              <a:gd name="T59" fmla="*/ 58709 h 220"/>
              <a:gd name="T60" fmla="*/ 344438 w 256"/>
              <a:gd name="T61" fmla="*/ 58709 h 220"/>
              <a:gd name="T62" fmla="*/ 362310 w 256"/>
              <a:gd name="T63" fmla="*/ 71755 h 220"/>
              <a:gd name="T64" fmla="*/ 414300 w 256"/>
              <a:gd name="T65" fmla="*/ 208742 h 220"/>
              <a:gd name="T66" fmla="*/ 415925 w 256"/>
              <a:gd name="T67" fmla="*/ 215265 h 220"/>
              <a:gd name="T68" fmla="*/ 415925 w 256"/>
              <a:gd name="T69" fmla="*/ 339205 h 220"/>
              <a:gd name="T70" fmla="*/ 396429 w 256"/>
              <a:gd name="T71" fmla="*/ 358775 h 220"/>
              <a:gd name="T72" fmla="*/ 272951 w 256"/>
              <a:gd name="T73" fmla="*/ 143510 h 220"/>
              <a:gd name="T74" fmla="*/ 266452 w 256"/>
              <a:gd name="T75" fmla="*/ 156556 h 220"/>
              <a:gd name="T76" fmla="*/ 220960 w 256"/>
              <a:gd name="T77" fmla="*/ 202219 h 220"/>
              <a:gd name="T78" fmla="*/ 207963 w 256"/>
              <a:gd name="T79" fmla="*/ 208742 h 220"/>
              <a:gd name="T80" fmla="*/ 194965 w 256"/>
              <a:gd name="T81" fmla="*/ 202219 h 220"/>
              <a:gd name="T82" fmla="*/ 149473 w 256"/>
              <a:gd name="T83" fmla="*/ 156556 h 220"/>
              <a:gd name="T84" fmla="*/ 142974 w 256"/>
              <a:gd name="T85" fmla="*/ 143510 h 220"/>
              <a:gd name="T86" fmla="*/ 162471 w 256"/>
              <a:gd name="T87" fmla="*/ 123940 h 220"/>
              <a:gd name="T88" fmla="*/ 175468 w 256"/>
              <a:gd name="T89" fmla="*/ 130464 h 220"/>
              <a:gd name="T90" fmla="*/ 188466 w 256"/>
              <a:gd name="T91" fmla="*/ 141879 h 220"/>
              <a:gd name="T92" fmla="*/ 188466 w 256"/>
              <a:gd name="T93" fmla="*/ 71755 h 220"/>
              <a:gd name="T94" fmla="*/ 188466 w 256"/>
              <a:gd name="T95" fmla="*/ 52185 h 220"/>
              <a:gd name="T96" fmla="*/ 188466 w 256"/>
              <a:gd name="T97" fmla="*/ 19570 h 220"/>
              <a:gd name="T98" fmla="*/ 207963 w 256"/>
              <a:gd name="T99" fmla="*/ 0 h 220"/>
              <a:gd name="T100" fmla="*/ 227459 w 256"/>
              <a:gd name="T101" fmla="*/ 19570 h 220"/>
              <a:gd name="T102" fmla="*/ 227459 w 256"/>
              <a:gd name="T103" fmla="*/ 58709 h 220"/>
              <a:gd name="T104" fmla="*/ 227459 w 256"/>
              <a:gd name="T105" fmla="*/ 65232 h 220"/>
              <a:gd name="T106" fmla="*/ 227459 w 256"/>
              <a:gd name="T107" fmla="*/ 141879 h 220"/>
              <a:gd name="T108" fmla="*/ 240457 w 256"/>
              <a:gd name="T109" fmla="*/ 130464 h 220"/>
              <a:gd name="T110" fmla="*/ 253454 w 256"/>
              <a:gd name="T111" fmla="*/ 123940 h 220"/>
              <a:gd name="T112" fmla="*/ 272951 w 256"/>
              <a:gd name="T113" fmla="*/ 143510 h 22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56" h="220">
                <a:moveTo>
                  <a:pt x="244" y="220"/>
                </a:moveTo>
                <a:cubicBezTo>
                  <a:pt x="12" y="220"/>
                  <a:pt x="12" y="220"/>
                  <a:pt x="12" y="220"/>
                </a:cubicBezTo>
                <a:cubicBezTo>
                  <a:pt x="5" y="220"/>
                  <a:pt x="0" y="215"/>
                  <a:pt x="0" y="208"/>
                </a:cubicBezTo>
                <a:cubicBezTo>
                  <a:pt x="0" y="132"/>
                  <a:pt x="0" y="132"/>
                  <a:pt x="0" y="132"/>
                </a:cubicBezTo>
                <a:cubicBezTo>
                  <a:pt x="0" y="132"/>
                  <a:pt x="0" y="132"/>
                  <a:pt x="0" y="132"/>
                </a:cubicBezTo>
                <a:cubicBezTo>
                  <a:pt x="0" y="130"/>
                  <a:pt x="0" y="129"/>
                  <a:pt x="1" y="128"/>
                </a:cubicBezTo>
                <a:cubicBezTo>
                  <a:pt x="33" y="44"/>
                  <a:pt x="33" y="44"/>
                  <a:pt x="33" y="44"/>
                </a:cubicBezTo>
                <a:cubicBezTo>
                  <a:pt x="34" y="39"/>
                  <a:pt x="39" y="36"/>
                  <a:pt x="44" y="36"/>
                </a:cubicBezTo>
                <a:cubicBezTo>
                  <a:pt x="64" y="36"/>
                  <a:pt x="64" y="36"/>
                  <a:pt x="64" y="36"/>
                </a:cubicBezTo>
                <a:cubicBezTo>
                  <a:pt x="104" y="36"/>
                  <a:pt x="104" y="36"/>
                  <a:pt x="104" y="36"/>
                </a:cubicBezTo>
                <a:cubicBezTo>
                  <a:pt x="104" y="44"/>
                  <a:pt x="104" y="44"/>
                  <a:pt x="104" y="44"/>
                </a:cubicBezTo>
                <a:cubicBezTo>
                  <a:pt x="104" y="60"/>
                  <a:pt x="104" y="60"/>
                  <a:pt x="104" y="60"/>
                </a:cubicBezTo>
                <a:cubicBezTo>
                  <a:pt x="64" y="60"/>
                  <a:pt x="64" y="60"/>
                  <a:pt x="64" y="60"/>
                </a:cubicBezTo>
                <a:cubicBezTo>
                  <a:pt x="52" y="60"/>
                  <a:pt x="52" y="60"/>
                  <a:pt x="52" y="60"/>
                </a:cubicBezTo>
                <a:cubicBezTo>
                  <a:pt x="29" y="120"/>
                  <a:pt x="29" y="120"/>
                  <a:pt x="29" y="120"/>
                </a:cubicBezTo>
                <a:cubicBezTo>
                  <a:pt x="56" y="120"/>
                  <a:pt x="56" y="120"/>
                  <a:pt x="56" y="120"/>
                </a:cubicBezTo>
                <a:cubicBezTo>
                  <a:pt x="68" y="120"/>
                  <a:pt x="68" y="120"/>
                  <a:pt x="68" y="120"/>
                </a:cubicBezTo>
                <a:cubicBezTo>
                  <a:pt x="75" y="120"/>
                  <a:pt x="80" y="125"/>
                  <a:pt x="80" y="132"/>
                </a:cubicBezTo>
                <a:cubicBezTo>
                  <a:pt x="80" y="144"/>
                  <a:pt x="80" y="144"/>
                  <a:pt x="80" y="144"/>
                </a:cubicBezTo>
                <a:cubicBezTo>
                  <a:pt x="176" y="144"/>
                  <a:pt x="176" y="144"/>
                  <a:pt x="176" y="144"/>
                </a:cubicBezTo>
                <a:cubicBezTo>
                  <a:pt x="176" y="132"/>
                  <a:pt x="176" y="132"/>
                  <a:pt x="176" y="132"/>
                </a:cubicBezTo>
                <a:cubicBezTo>
                  <a:pt x="176" y="125"/>
                  <a:pt x="181" y="120"/>
                  <a:pt x="188" y="120"/>
                </a:cubicBezTo>
                <a:cubicBezTo>
                  <a:pt x="200" y="120"/>
                  <a:pt x="200" y="120"/>
                  <a:pt x="200" y="120"/>
                </a:cubicBezTo>
                <a:cubicBezTo>
                  <a:pt x="227" y="120"/>
                  <a:pt x="227" y="120"/>
                  <a:pt x="227" y="120"/>
                </a:cubicBezTo>
                <a:cubicBezTo>
                  <a:pt x="204" y="60"/>
                  <a:pt x="204" y="60"/>
                  <a:pt x="204" y="60"/>
                </a:cubicBezTo>
                <a:cubicBezTo>
                  <a:pt x="192" y="60"/>
                  <a:pt x="192" y="60"/>
                  <a:pt x="192" y="60"/>
                </a:cubicBezTo>
                <a:cubicBezTo>
                  <a:pt x="152" y="60"/>
                  <a:pt x="152" y="60"/>
                  <a:pt x="152" y="60"/>
                </a:cubicBezTo>
                <a:cubicBezTo>
                  <a:pt x="152" y="44"/>
                  <a:pt x="152" y="44"/>
                  <a:pt x="152" y="44"/>
                </a:cubicBezTo>
                <a:cubicBezTo>
                  <a:pt x="152" y="36"/>
                  <a:pt x="152" y="36"/>
                  <a:pt x="152" y="36"/>
                </a:cubicBezTo>
                <a:cubicBezTo>
                  <a:pt x="192" y="36"/>
                  <a:pt x="192" y="36"/>
                  <a:pt x="192" y="36"/>
                </a:cubicBezTo>
                <a:cubicBezTo>
                  <a:pt x="212" y="36"/>
                  <a:pt x="212" y="36"/>
                  <a:pt x="212" y="36"/>
                </a:cubicBezTo>
                <a:cubicBezTo>
                  <a:pt x="217" y="36"/>
                  <a:pt x="222" y="39"/>
                  <a:pt x="223" y="44"/>
                </a:cubicBezTo>
                <a:cubicBezTo>
                  <a:pt x="255" y="128"/>
                  <a:pt x="255" y="128"/>
                  <a:pt x="255" y="128"/>
                </a:cubicBezTo>
                <a:cubicBezTo>
                  <a:pt x="256" y="129"/>
                  <a:pt x="256" y="130"/>
                  <a:pt x="256" y="132"/>
                </a:cubicBezTo>
                <a:cubicBezTo>
                  <a:pt x="256" y="208"/>
                  <a:pt x="256" y="208"/>
                  <a:pt x="256" y="208"/>
                </a:cubicBezTo>
                <a:cubicBezTo>
                  <a:pt x="256" y="215"/>
                  <a:pt x="251" y="220"/>
                  <a:pt x="244" y="220"/>
                </a:cubicBezTo>
                <a:moveTo>
                  <a:pt x="168" y="88"/>
                </a:moveTo>
                <a:cubicBezTo>
                  <a:pt x="168" y="91"/>
                  <a:pt x="167" y="94"/>
                  <a:pt x="164" y="96"/>
                </a:cubicBezTo>
                <a:cubicBezTo>
                  <a:pt x="136" y="124"/>
                  <a:pt x="136" y="124"/>
                  <a:pt x="136" y="124"/>
                </a:cubicBezTo>
                <a:cubicBezTo>
                  <a:pt x="134" y="127"/>
                  <a:pt x="131" y="128"/>
                  <a:pt x="128" y="128"/>
                </a:cubicBezTo>
                <a:cubicBezTo>
                  <a:pt x="125" y="128"/>
                  <a:pt x="122" y="127"/>
                  <a:pt x="120" y="124"/>
                </a:cubicBezTo>
                <a:cubicBezTo>
                  <a:pt x="92" y="96"/>
                  <a:pt x="92" y="96"/>
                  <a:pt x="92" y="96"/>
                </a:cubicBezTo>
                <a:cubicBezTo>
                  <a:pt x="89" y="94"/>
                  <a:pt x="88" y="91"/>
                  <a:pt x="88" y="88"/>
                </a:cubicBezTo>
                <a:cubicBezTo>
                  <a:pt x="88" y="81"/>
                  <a:pt x="93" y="76"/>
                  <a:pt x="100" y="76"/>
                </a:cubicBezTo>
                <a:cubicBezTo>
                  <a:pt x="103" y="76"/>
                  <a:pt x="106" y="77"/>
                  <a:pt x="108" y="80"/>
                </a:cubicBezTo>
                <a:cubicBezTo>
                  <a:pt x="116" y="87"/>
                  <a:pt x="116" y="87"/>
                  <a:pt x="116" y="87"/>
                </a:cubicBezTo>
                <a:cubicBezTo>
                  <a:pt x="116" y="44"/>
                  <a:pt x="116" y="44"/>
                  <a:pt x="116" y="44"/>
                </a:cubicBezTo>
                <a:cubicBezTo>
                  <a:pt x="116" y="32"/>
                  <a:pt x="116" y="32"/>
                  <a:pt x="116" y="32"/>
                </a:cubicBezTo>
                <a:cubicBezTo>
                  <a:pt x="116" y="12"/>
                  <a:pt x="116" y="12"/>
                  <a:pt x="116" y="12"/>
                </a:cubicBezTo>
                <a:cubicBezTo>
                  <a:pt x="116" y="5"/>
                  <a:pt x="121" y="0"/>
                  <a:pt x="128" y="0"/>
                </a:cubicBezTo>
                <a:cubicBezTo>
                  <a:pt x="135" y="0"/>
                  <a:pt x="140" y="5"/>
                  <a:pt x="140" y="12"/>
                </a:cubicBezTo>
                <a:cubicBezTo>
                  <a:pt x="140" y="36"/>
                  <a:pt x="140" y="36"/>
                  <a:pt x="140" y="36"/>
                </a:cubicBezTo>
                <a:cubicBezTo>
                  <a:pt x="140" y="40"/>
                  <a:pt x="140" y="40"/>
                  <a:pt x="140" y="40"/>
                </a:cubicBezTo>
                <a:cubicBezTo>
                  <a:pt x="140" y="87"/>
                  <a:pt x="140" y="87"/>
                  <a:pt x="140" y="87"/>
                </a:cubicBezTo>
                <a:cubicBezTo>
                  <a:pt x="148" y="80"/>
                  <a:pt x="148" y="80"/>
                  <a:pt x="148" y="80"/>
                </a:cubicBezTo>
                <a:cubicBezTo>
                  <a:pt x="150" y="77"/>
                  <a:pt x="153" y="76"/>
                  <a:pt x="156" y="76"/>
                </a:cubicBezTo>
                <a:cubicBezTo>
                  <a:pt x="163" y="76"/>
                  <a:pt x="168" y="81"/>
                  <a:pt x="168" y="88"/>
                </a:cubicBezTo>
              </a:path>
            </a:pathLst>
          </a:custGeom>
          <a:solidFill>
            <a:srgbClr val="C00000"/>
          </a:solidFill>
          <a:ln>
            <a:noFill/>
          </a:ln>
        </p:spPr>
        <p:txBody>
          <a:bodyPr/>
          <a:lstStyle/>
          <a:p>
            <a:endParaRPr lang="en-US" dirty="0"/>
          </a:p>
        </p:txBody>
      </p:sp>
      <p:grpSp>
        <p:nvGrpSpPr>
          <p:cNvPr id="29" name="Group 75">
            <a:extLst>
              <a:ext uri="{FF2B5EF4-FFF2-40B4-BE49-F238E27FC236}">
                <a16:creationId xmlns:a16="http://schemas.microsoft.com/office/drawing/2014/main" id="{6400C942-3770-44A7-92C9-6A941E6BC13E}"/>
              </a:ext>
            </a:extLst>
          </p:cNvPr>
          <p:cNvGrpSpPr/>
          <p:nvPr/>
        </p:nvGrpSpPr>
        <p:grpSpPr>
          <a:xfrm>
            <a:off x="2441710" y="-1839626"/>
            <a:ext cx="474691" cy="462672"/>
            <a:chOff x="4080141" y="798258"/>
            <a:chExt cx="328062" cy="319755"/>
          </a:xfrm>
          <a:solidFill>
            <a:schemeClr val="tx2"/>
          </a:solidFill>
        </p:grpSpPr>
        <p:sp>
          <p:nvSpPr>
            <p:cNvPr id="30" name="Freeform 76">
              <a:extLst>
                <a:ext uri="{FF2B5EF4-FFF2-40B4-BE49-F238E27FC236}">
                  <a16:creationId xmlns:a16="http://schemas.microsoft.com/office/drawing/2014/main" id="{3369788E-5A56-490D-B0CA-7AEBE5F9928F}"/>
                </a:ext>
              </a:extLst>
            </p:cNvPr>
            <p:cNvSpPr>
              <a:spLocks/>
            </p:cNvSpPr>
            <p:nvPr/>
          </p:nvSpPr>
          <p:spPr bwMode="auto">
            <a:xfrm>
              <a:off x="4080141" y="823174"/>
              <a:ext cx="294839" cy="294839"/>
            </a:xfrm>
            <a:custGeom>
              <a:avLst/>
              <a:gdLst/>
              <a:ahLst/>
              <a:cxnLst>
                <a:cxn ang="0">
                  <a:pos x="141" y="141"/>
                </a:cxn>
                <a:cxn ang="0">
                  <a:pos x="284" y="141"/>
                </a:cxn>
                <a:cxn ang="0">
                  <a:pos x="284" y="141"/>
                </a:cxn>
                <a:cxn ang="0">
                  <a:pos x="283" y="156"/>
                </a:cxn>
                <a:cxn ang="0">
                  <a:pos x="281" y="170"/>
                </a:cxn>
                <a:cxn ang="0">
                  <a:pos x="277" y="185"/>
                </a:cxn>
                <a:cxn ang="0">
                  <a:pos x="274" y="197"/>
                </a:cxn>
                <a:cxn ang="0">
                  <a:pos x="266" y="210"/>
                </a:cxn>
                <a:cxn ang="0">
                  <a:pos x="259" y="221"/>
                </a:cxn>
                <a:cxn ang="0">
                  <a:pos x="252" y="232"/>
                </a:cxn>
                <a:cxn ang="0">
                  <a:pos x="243" y="243"/>
                </a:cxn>
                <a:cxn ang="0">
                  <a:pos x="232" y="252"/>
                </a:cxn>
                <a:cxn ang="0">
                  <a:pos x="221" y="259"/>
                </a:cxn>
                <a:cxn ang="0">
                  <a:pos x="210" y="266"/>
                </a:cxn>
                <a:cxn ang="0">
                  <a:pos x="197" y="273"/>
                </a:cxn>
                <a:cxn ang="0">
                  <a:pos x="185" y="277"/>
                </a:cxn>
                <a:cxn ang="0">
                  <a:pos x="170" y="281"/>
                </a:cxn>
                <a:cxn ang="0">
                  <a:pos x="156" y="283"/>
                </a:cxn>
                <a:cxn ang="0">
                  <a:pos x="141" y="284"/>
                </a:cxn>
                <a:cxn ang="0">
                  <a:pos x="141" y="284"/>
                </a:cxn>
                <a:cxn ang="0">
                  <a:pos x="127" y="283"/>
                </a:cxn>
                <a:cxn ang="0">
                  <a:pos x="112" y="281"/>
                </a:cxn>
                <a:cxn ang="0">
                  <a:pos x="100" y="277"/>
                </a:cxn>
                <a:cxn ang="0">
                  <a:pos x="87" y="273"/>
                </a:cxn>
                <a:cxn ang="0">
                  <a:pos x="74" y="266"/>
                </a:cxn>
                <a:cxn ang="0">
                  <a:pos x="62" y="259"/>
                </a:cxn>
                <a:cxn ang="0">
                  <a:pos x="51" y="252"/>
                </a:cxn>
                <a:cxn ang="0">
                  <a:pos x="42" y="243"/>
                </a:cxn>
                <a:cxn ang="0">
                  <a:pos x="33" y="232"/>
                </a:cxn>
                <a:cxn ang="0">
                  <a:pos x="23" y="221"/>
                </a:cxn>
                <a:cxn ang="0">
                  <a:pos x="16" y="210"/>
                </a:cxn>
                <a:cxn ang="0">
                  <a:pos x="11" y="197"/>
                </a:cxn>
                <a:cxn ang="0">
                  <a:pos x="5" y="185"/>
                </a:cxn>
                <a:cxn ang="0">
                  <a:pos x="2" y="170"/>
                </a:cxn>
                <a:cxn ang="0">
                  <a:pos x="0" y="156"/>
                </a:cxn>
                <a:cxn ang="0">
                  <a:pos x="0" y="141"/>
                </a:cxn>
                <a:cxn ang="0">
                  <a:pos x="0" y="141"/>
                </a:cxn>
                <a:cxn ang="0">
                  <a:pos x="0" y="127"/>
                </a:cxn>
                <a:cxn ang="0">
                  <a:pos x="2" y="114"/>
                </a:cxn>
                <a:cxn ang="0">
                  <a:pos x="5" y="99"/>
                </a:cxn>
                <a:cxn ang="0">
                  <a:pos x="11" y="87"/>
                </a:cxn>
                <a:cxn ang="0">
                  <a:pos x="16" y="74"/>
                </a:cxn>
                <a:cxn ang="0">
                  <a:pos x="23" y="63"/>
                </a:cxn>
                <a:cxn ang="0">
                  <a:pos x="33" y="52"/>
                </a:cxn>
                <a:cxn ang="0">
                  <a:pos x="42" y="41"/>
                </a:cxn>
                <a:cxn ang="0">
                  <a:pos x="51" y="32"/>
                </a:cxn>
                <a:cxn ang="0">
                  <a:pos x="62" y="23"/>
                </a:cxn>
                <a:cxn ang="0">
                  <a:pos x="74" y="16"/>
                </a:cxn>
                <a:cxn ang="0">
                  <a:pos x="87" y="11"/>
                </a:cxn>
                <a:cxn ang="0">
                  <a:pos x="100" y="7"/>
                </a:cxn>
                <a:cxn ang="0">
                  <a:pos x="112" y="3"/>
                </a:cxn>
                <a:cxn ang="0">
                  <a:pos x="127" y="0"/>
                </a:cxn>
                <a:cxn ang="0">
                  <a:pos x="141" y="0"/>
                </a:cxn>
                <a:cxn ang="0">
                  <a:pos x="141" y="141"/>
                </a:cxn>
              </a:cxnLst>
              <a:rect l="0" t="0" r="r" b="b"/>
              <a:pathLst>
                <a:path w="284" h="284">
                  <a:moveTo>
                    <a:pt x="141" y="141"/>
                  </a:moveTo>
                  <a:lnTo>
                    <a:pt x="284" y="141"/>
                  </a:lnTo>
                  <a:lnTo>
                    <a:pt x="284" y="141"/>
                  </a:lnTo>
                  <a:lnTo>
                    <a:pt x="283" y="156"/>
                  </a:lnTo>
                  <a:lnTo>
                    <a:pt x="281" y="170"/>
                  </a:lnTo>
                  <a:lnTo>
                    <a:pt x="277" y="185"/>
                  </a:lnTo>
                  <a:lnTo>
                    <a:pt x="274" y="197"/>
                  </a:lnTo>
                  <a:lnTo>
                    <a:pt x="266" y="210"/>
                  </a:lnTo>
                  <a:lnTo>
                    <a:pt x="259" y="221"/>
                  </a:lnTo>
                  <a:lnTo>
                    <a:pt x="252" y="232"/>
                  </a:lnTo>
                  <a:lnTo>
                    <a:pt x="243" y="243"/>
                  </a:lnTo>
                  <a:lnTo>
                    <a:pt x="232" y="252"/>
                  </a:lnTo>
                  <a:lnTo>
                    <a:pt x="221" y="259"/>
                  </a:lnTo>
                  <a:lnTo>
                    <a:pt x="210" y="266"/>
                  </a:lnTo>
                  <a:lnTo>
                    <a:pt x="197" y="273"/>
                  </a:lnTo>
                  <a:lnTo>
                    <a:pt x="185" y="277"/>
                  </a:lnTo>
                  <a:lnTo>
                    <a:pt x="170" y="281"/>
                  </a:lnTo>
                  <a:lnTo>
                    <a:pt x="156" y="283"/>
                  </a:lnTo>
                  <a:lnTo>
                    <a:pt x="141" y="284"/>
                  </a:lnTo>
                  <a:lnTo>
                    <a:pt x="141" y="284"/>
                  </a:lnTo>
                  <a:lnTo>
                    <a:pt x="127" y="283"/>
                  </a:lnTo>
                  <a:lnTo>
                    <a:pt x="112" y="281"/>
                  </a:lnTo>
                  <a:lnTo>
                    <a:pt x="100" y="277"/>
                  </a:lnTo>
                  <a:lnTo>
                    <a:pt x="87" y="273"/>
                  </a:lnTo>
                  <a:lnTo>
                    <a:pt x="74" y="266"/>
                  </a:lnTo>
                  <a:lnTo>
                    <a:pt x="62" y="259"/>
                  </a:lnTo>
                  <a:lnTo>
                    <a:pt x="51" y="252"/>
                  </a:lnTo>
                  <a:lnTo>
                    <a:pt x="42" y="243"/>
                  </a:lnTo>
                  <a:lnTo>
                    <a:pt x="33" y="232"/>
                  </a:lnTo>
                  <a:lnTo>
                    <a:pt x="23" y="221"/>
                  </a:lnTo>
                  <a:lnTo>
                    <a:pt x="16" y="210"/>
                  </a:lnTo>
                  <a:lnTo>
                    <a:pt x="11" y="197"/>
                  </a:lnTo>
                  <a:lnTo>
                    <a:pt x="5" y="185"/>
                  </a:lnTo>
                  <a:lnTo>
                    <a:pt x="2" y="170"/>
                  </a:lnTo>
                  <a:lnTo>
                    <a:pt x="0" y="156"/>
                  </a:lnTo>
                  <a:lnTo>
                    <a:pt x="0" y="141"/>
                  </a:lnTo>
                  <a:lnTo>
                    <a:pt x="0" y="141"/>
                  </a:lnTo>
                  <a:lnTo>
                    <a:pt x="0" y="127"/>
                  </a:lnTo>
                  <a:lnTo>
                    <a:pt x="2" y="114"/>
                  </a:lnTo>
                  <a:lnTo>
                    <a:pt x="5" y="99"/>
                  </a:lnTo>
                  <a:lnTo>
                    <a:pt x="11" y="87"/>
                  </a:lnTo>
                  <a:lnTo>
                    <a:pt x="16" y="74"/>
                  </a:lnTo>
                  <a:lnTo>
                    <a:pt x="23" y="63"/>
                  </a:lnTo>
                  <a:lnTo>
                    <a:pt x="33" y="52"/>
                  </a:lnTo>
                  <a:lnTo>
                    <a:pt x="42" y="41"/>
                  </a:lnTo>
                  <a:lnTo>
                    <a:pt x="51" y="32"/>
                  </a:lnTo>
                  <a:lnTo>
                    <a:pt x="62" y="23"/>
                  </a:lnTo>
                  <a:lnTo>
                    <a:pt x="74" y="16"/>
                  </a:lnTo>
                  <a:lnTo>
                    <a:pt x="87" y="11"/>
                  </a:lnTo>
                  <a:lnTo>
                    <a:pt x="100" y="7"/>
                  </a:lnTo>
                  <a:lnTo>
                    <a:pt x="112" y="3"/>
                  </a:lnTo>
                  <a:lnTo>
                    <a:pt x="127" y="0"/>
                  </a:lnTo>
                  <a:lnTo>
                    <a:pt x="141" y="0"/>
                  </a:lnTo>
                  <a:lnTo>
                    <a:pt x="141" y="14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31" name="Freeform 77">
              <a:extLst>
                <a:ext uri="{FF2B5EF4-FFF2-40B4-BE49-F238E27FC236}">
                  <a16:creationId xmlns:a16="http://schemas.microsoft.com/office/drawing/2014/main" id="{9542E23D-6167-4AB8-A09B-1C33C480C5B1}"/>
                </a:ext>
              </a:extLst>
            </p:cNvPr>
            <p:cNvSpPr>
              <a:spLocks/>
            </p:cNvSpPr>
            <p:nvPr/>
          </p:nvSpPr>
          <p:spPr bwMode="auto">
            <a:xfrm>
              <a:off x="4260783" y="798258"/>
              <a:ext cx="147420" cy="147420"/>
            </a:xfrm>
            <a:custGeom>
              <a:avLst/>
              <a:gdLst/>
              <a:ahLst/>
              <a:cxnLst>
                <a:cxn ang="0">
                  <a:pos x="0" y="142"/>
                </a:cxn>
                <a:cxn ang="0">
                  <a:pos x="141" y="142"/>
                </a:cxn>
                <a:cxn ang="0">
                  <a:pos x="141" y="142"/>
                </a:cxn>
                <a:cxn ang="0">
                  <a:pos x="141" y="127"/>
                </a:cxn>
                <a:cxn ang="0">
                  <a:pos x="139" y="113"/>
                </a:cxn>
                <a:cxn ang="0">
                  <a:pos x="136" y="100"/>
                </a:cxn>
                <a:cxn ang="0">
                  <a:pos x="130" y="87"/>
                </a:cxn>
                <a:cxn ang="0">
                  <a:pos x="125" y="74"/>
                </a:cxn>
                <a:cxn ang="0">
                  <a:pos x="118" y="62"/>
                </a:cxn>
                <a:cxn ang="0">
                  <a:pos x="109" y="51"/>
                </a:cxn>
                <a:cxn ang="0">
                  <a:pos x="100" y="42"/>
                </a:cxn>
                <a:cxn ang="0">
                  <a:pos x="91" y="33"/>
                </a:cxn>
                <a:cxn ang="0">
                  <a:pos x="80" y="24"/>
                </a:cxn>
                <a:cxn ang="0">
                  <a:pos x="67" y="16"/>
                </a:cxn>
                <a:cxn ang="0">
                  <a:pos x="54" y="11"/>
                </a:cxn>
                <a:cxn ang="0">
                  <a:pos x="42" y="6"/>
                </a:cxn>
                <a:cxn ang="0">
                  <a:pos x="29" y="2"/>
                </a:cxn>
                <a:cxn ang="0">
                  <a:pos x="14" y="0"/>
                </a:cxn>
                <a:cxn ang="0">
                  <a:pos x="0" y="0"/>
                </a:cxn>
                <a:cxn ang="0">
                  <a:pos x="0" y="142"/>
                </a:cxn>
              </a:cxnLst>
              <a:rect l="0" t="0" r="r" b="b"/>
              <a:pathLst>
                <a:path w="141" h="142">
                  <a:moveTo>
                    <a:pt x="0" y="142"/>
                  </a:moveTo>
                  <a:lnTo>
                    <a:pt x="141" y="142"/>
                  </a:lnTo>
                  <a:lnTo>
                    <a:pt x="141" y="142"/>
                  </a:lnTo>
                  <a:lnTo>
                    <a:pt x="141" y="127"/>
                  </a:lnTo>
                  <a:lnTo>
                    <a:pt x="139" y="113"/>
                  </a:lnTo>
                  <a:lnTo>
                    <a:pt x="136" y="100"/>
                  </a:lnTo>
                  <a:lnTo>
                    <a:pt x="130" y="87"/>
                  </a:lnTo>
                  <a:lnTo>
                    <a:pt x="125" y="74"/>
                  </a:lnTo>
                  <a:lnTo>
                    <a:pt x="118" y="62"/>
                  </a:lnTo>
                  <a:lnTo>
                    <a:pt x="109" y="51"/>
                  </a:lnTo>
                  <a:lnTo>
                    <a:pt x="100" y="42"/>
                  </a:lnTo>
                  <a:lnTo>
                    <a:pt x="91" y="33"/>
                  </a:lnTo>
                  <a:lnTo>
                    <a:pt x="80" y="24"/>
                  </a:lnTo>
                  <a:lnTo>
                    <a:pt x="67" y="16"/>
                  </a:lnTo>
                  <a:lnTo>
                    <a:pt x="54" y="11"/>
                  </a:lnTo>
                  <a:lnTo>
                    <a:pt x="42" y="6"/>
                  </a:lnTo>
                  <a:lnTo>
                    <a:pt x="29" y="2"/>
                  </a:lnTo>
                  <a:lnTo>
                    <a:pt x="14" y="0"/>
                  </a:lnTo>
                  <a:lnTo>
                    <a:pt x="0" y="0"/>
                  </a:lnTo>
                  <a:lnTo>
                    <a:pt x="0" y="14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32" name="Group 119">
            <a:extLst>
              <a:ext uri="{FF2B5EF4-FFF2-40B4-BE49-F238E27FC236}">
                <a16:creationId xmlns:a16="http://schemas.microsoft.com/office/drawing/2014/main" id="{DB063EC7-4876-4008-9E79-3CA86008D839}"/>
              </a:ext>
            </a:extLst>
          </p:cNvPr>
          <p:cNvGrpSpPr/>
          <p:nvPr/>
        </p:nvGrpSpPr>
        <p:grpSpPr>
          <a:xfrm>
            <a:off x="2191982" y="5243539"/>
            <a:ext cx="391880" cy="315793"/>
            <a:chOff x="1168380" y="3486162"/>
            <a:chExt cx="381000" cy="365126"/>
          </a:xfrm>
          <a:solidFill>
            <a:srgbClr val="C00000"/>
          </a:solidFill>
        </p:grpSpPr>
        <p:sp>
          <p:nvSpPr>
            <p:cNvPr id="33" name="Freeform 16">
              <a:extLst>
                <a:ext uri="{FF2B5EF4-FFF2-40B4-BE49-F238E27FC236}">
                  <a16:creationId xmlns:a16="http://schemas.microsoft.com/office/drawing/2014/main" id="{0E0F87FC-A8EE-44BF-B643-FA064D71AE1A}"/>
                </a:ext>
              </a:extLst>
            </p:cNvPr>
            <p:cNvSpPr>
              <a:spLocks/>
            </p:cNvSpPr>
            <p:nvPr/>
          </p:nvSpPr>
          <p:spPr bwMode="auto">
            <a:xfrm>
              <a:off x="1223942" y="3643325"/>
              <a:ext cx="146050" cy="207963"/>
            </a:xfrm>
            <a:custGeom>
              <a:avLst/>
              <a:gdLst/>
              <a:ahLst/>
              <a:cxnLst>
                <a:cxn ang="0">
                  <a:pos x="125" y="101"/>
                </a:cxn>
                <a:cxn ang="0">
                  <a:pos x="125" y="231"/>
                </a:cxn>
                <a:cxn ang="0">
                  <a:pos x="125" y="231"/>
                </a:cxn>
                <a:cxn ang="0">
                  <a:pos x="124" y="237"/>
                </a:cxn>
                <a:cxn ang="0">
                  <a:pos x="122" y="243"/>
                </a:cxn>
                <a:cxn ang="0">
                  <a:pos x="119" y="248"/>
                </a:cxn>
                <a:cxn ang="0">
                  <a:pos x="115" y="253"/>
                </a:cxn>
                <a:cxn ang="0">
                  <a:pos x="110" y="257"/>
                </a:cxn>
                <a:cxn ang="0">
                  <a:pos x="105" y="260"/>
                </a:cxn>
                <a:cxn ang="0">
                  <a:pos x="99" y="262"/>
                </a:cxn>
                <a:cxn ang="0">
                  <a:pos x="93" y="263"/>
                </a:cxn>
                <a:cxn ang="0">
                  <a:pos x="93" y="263"/>
                </a:cxn>
                <a:cxn ang="0">
                  <a:pos x="93" y="263"/>
                </a:cxn>
                <a:cxn ang="0">
                  <a:pos x="87" y="262"/>
                </a:cxn>
                <a:cxn ang="0">
                  <a:pos x="80" y="260"/>
                </a:cxn>
                <a:cxn ang="0">
                  <a:pos x="74" y="257"/>
                </a:cxn>
                <a:cxn ang="0">
                  <a:pos x="69" y="253"/>
                </a:cxn>
                <a:cxn ang="0">
                  <a:pos x="66" y="248"/>
                </a:cxn>
                <a:cxn ang="0">
                  <a:pos x="63" y="243"/>
                </a:cxn>
                <a:cxn ang="0">
                  <a:pos x="61" y="237"/>
                </a:cxn>
                <a:cxn ang="0">
                  <a:pos x="61" y="231"/>
                </a:cxn>
                <a:cxn ang="0">
                  <a:pos x="61" y="101"/>
                </a:cxn>
                <a:cxn ang="0">
                  <a:pos x="16" y="101"/>
                </a:cxn>
                <a:cxn ang="0">
                  <a:pos x="16" y="101"/>
                </a:cxn>
                <a:cxn ang="0">
                  <a:pos x="10" y="100"/>
                </a:cxn>
                <a:cxn ang="0">
                  <a:pos x="5" y="99"/>
                </a:cxn>
                <a:cxn ang="0">
                  <a:pos x="1" y="95"/>
                </a:cxn>
                <a:cxn ang="0">
                  <a:pos x="0" y="91"/>
                </a:cxn>
                <a:cxn ang="0">
                  <a:pos x="0" y="87"/>
                </a:cxn>
                <a:cxn ang="0">
                  <a:pos x="0" y="82"/>
                </a:cxn>
                <a:cxn ang="0">
                  <a:pos x="3" y="77"/>
                </a:cxn>
                <a:cxn ang="0">
                  <a:pos x="7" y="73"/>
                </a:cxn>
                <a:cxn ang="0">
                  <a:pos x="69" y="11"/>
                </a:cxn>
                <a:cxn ang="0">
                  <a:pos x="69" y="11"/>
                </a:cxn>
                <a:cxn ang="0">
                  <a:pos x="75" y="6"/>
                </a:cxn>
                <a:cxn ang="0">
                  <a:pos x="80" y="2"/>
                </a:cxn>
                <a:cxn ang="0">
                  <a:pos x="87" y="0"/>
                </a:cxn>
                <a:cxn ang="0">
                  <a:pos x="93" y="0"/>
                </a:cxn>
                <a:cxn ang="0">
                  <a:pos x="98" y="0"/>
                </a:cxn>
                <a:cxn ang="0">
                  <a:pos x="104" y="2"/>
                </a:cxn>
                <a:cxn ang="0">
                  <a:pos x="110" y="6"/>
                </a:cxn>
                <a:cxn ang="0">
                  <a:pos x="115" y="11"/>
                </a:cxn>
                <a:cxn ang="0">
                  <a:pos x="178" y="73"/>
                </a:cxn>
                <a:cxn ang="0">
                  <a:pos x="178" y="73"/>
                </a:cxn>
                <a:cxn ang="0">
                  <a:pos x="182" y="77"/>
                </a:cxn>
                <a:cxn ang="0">
                  <a:pos x="184" y="82"/>
                </a:cxn>
                <a:cxn ang="0">
                  <a:pos x="184" y="86"/>
                </a:cxn>
                <a:cxn ang="0">
                  <a:pos x="184" y="91"/>
                </a:cxn>
                <a:cxn ang="0">
                  <a:pos x="182" y="95"/>
                </a:cxn>
                <a:cxn ang="0">
                  <a:pos x="178" y="97"/>
                </a:cxn>
                <a:cxn ang="0">
                  <a:pos x="173" y="100"/>
                </a:cxn>
                <a:cxn ang="0">
                  <a:pos x="166" y="101"/>
                </a:cxn>
                <a:cxn ang="0">
                  <a:pos x="125" y="101"/>
                </a:cxn>
              </a:cxnLst>
              <a:rect l="0" t="0" r="r" b="b"/>
              <a:pathLst>
                <a:path w="184" h="263">
                  <a:moveTo>
                    <a:pt x="125" y="101"/>
                  </a:moveTo>
                  <a:lnTo>
                    <a:pt x="125" y="231"/>
                  </a:lnTo>
                  <a:lnTo>
                    <a:pt x="125" y="231"/>
                  </a:lnTo>
                  <a:lnTo>
                    <a:pt x="124" y="237"/>
                  </a:lnTo>
                  <a:lnTo>
                    <a:pt x="122" y="243"/>
                  </a:lnTo>
                  <a:lnTo>
                    <a:pt x="119" y="248"/>
                  </a:lnTo>
                  <a:lnTo>
                    <a:pt x="115" y="253"/>
                  </a:lnTo>
                  <a:lnTo>
                    <a:pt x="110" y="257"/>
                  </a:lnTo>
                  <a:lnTo>
                    <a:pt x="105" y="260"/>
                  </a:lnTo>
                  <a:lnTo>
                    <a:pt x="99" y="262"/>
                  </a:lnTo>
                  <a:lnTo>
                    <a:pt x="93" y="263"/>
                  </a:lnTo>
                  <a:lnTo>
                    <a:pt x="93" y="263"/>
                  </a:lnTo>
                  <a:lnTo>
                    <a:pt x="93" y="263"/>
                  </a:lnTo>
                  <a:lnTo>
                    <a:pt x="87" y="262"/>
                  </a:lnTo>
                  <a:lnTo>
                    <a:pt x="80" y="260"/>
                  </a:lnTo>
                  <a:lnTo>
                    <a:pt x="74" y="257"/>
                  </a:lnTo>
                  <a:lnTo>
                    <a:pt x="69" y="253"/>
                  </a:lnTo>
                  <a:lnTo>
                    <a:pt x="66" y="248"/>
                  </a:lnTo>
                  <a:lnTo>
                    <a:pt x="63" y="243"/>
                  </a:lnTo>
                  <a:lnTo>
                    <a:pt x="61" y="237"/>
                  </a:lnTo>
                  <a:lnTo>
                    <a:pt x="61" y="231"/>
                  </a:lnTo>
                  <a:lnTo>
                    <a:pt x="61" y="101"/>
                  </a:lnTo>
                  <a:lnTo>
                    <a:pt x="16" y="101"/>
                  </a:lnTo>
                  <a:lnTo>
                    <a:pt x="16" y="101"/>
                  </a:lnTo>
                  <a:lnTo>
                    <a:pt x="10" y="100"/>
                  </a:lnTo>
                  <a:lnTo>
                    <a:pt x="5" y="99"/>
                  </a:lnTo>
                  <a:lnTo>
                    <a:pt x="1" y="95"/>
                  </a:lnTo>
                  <a:lnTo>
                    <a:pt x="0" y="91"/>
                  </a:lnTo>
                  <a:lnTo>
                    <a:pt x="0" y="87"/>
                  </a:lnTo>
                  <a:lnTo>
                    <a:pt x="0" y="82"/>
                  </a:lnTo>
                  <a:lnTo>
                    <a:pt x="3" y="77"/>
                  </a:lnTo>
                  <a:lnTo>
                    <a:pt x="7" y="73"/>
                  </a:lnTo>
                  <a:lnTo>
                    <a:pt x="69" y="11"/>
                  </a:lnTo>
                  <a:lnTo>
                    <a:pt x="69" y="11"/>
                  </a:lnTo>
                  <a:lnTo>
                    <a:pt x="75" y="6"/>
                  </a:lnTo>
                  <a:lnTo>
                    <a:pt x="80" y="2"/>
                  </a:lnTo>
                  <a:lnTo>
                    <a:pt x="87" y="0"/>
                  </a:lnTo>
                  <a:lnTo>
                    <a:pt x="93" y="0"/>
                  </a:lnTo>
                  <a:lnTo>
                    <a:pt x="98" y="0"/>
                  </a:lnTo>
                  <a:lnTo>
                    <a:pt x="104" y="2"/>
                  </a:lnTo>
                  <a:lnTo>
                    <a:pt x="110" y="6"/>
                  </a:lnTo>
                  <a:lnTo>
                    <a:pt x="115" y="11"/>
                  </a:lnTo>
                  <a:lnTo>
                    <a:pt x="178" y="73"/>
                  </a:lnTo>
                  <a:lnTo>
                    <a:pt x="178" y="73"/>
                  </a:lnTo>
                  <a:lnTo>
                    <a:pt x="182" y="77"/>
                  </a:lnTo>
                  <a:lnTo>
                    <a:pt x="184" y="82"/>
                  </a:lnTo>
                  <a:lnTo>
                    <a:pt x="184" y="86"/>
                  </a:lnTo>
                  <a:lnTo>
                    <a:pt x="184" y="91"/>
                  </a:lnTo>
                  <a:lnTo>
                    <a:pt x="182" y="95"/>
                  </a:lnTo>
                  <a:lnTo>
                    <a:pt x="178" y="97"/>
                  </a:lnTo>
                  <a:lnTo>
                    <a:pt x="173" y="100"/>
                  </a:lnTo>
                  <a:lnTo>
                    <a:pt x="166" y="101"/>
                  </a:lnTo>
                  <a:lnTo>
                    <a:pt x="125" y="10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34" name="Freeform 17">
              <a:extLst>
                <a:ext uri="{FF2B5EF4-FFF2-40B4-BE49-F238E27FC236}">
                  <a16:creationId xmlns:a16="http://schemas.microsoft.com/office/drawing/2014/main" id="{241E1F21-DFC6-4AC1-B50C-C49C185C804C}"/>
                </a:ext>
              </a:extLst>
            </p:cNvPr>
            <p:cNvSpPr>
              <a:spLocks/>
            </p:cNvSpPr>
            <p:nvPr/>
          </p:nvSpPr>
          <p:spPr bwMode="auto">
            <a:xfrm>
              <a:off x="1168380" y="3486162"/>
              <a:ext cx="381000" cy="266700"/>
            </a:xfrm>
            <a:custGeom>
              <a:avLst/>
              <a:gdLst/>
              <a:ahLst/>
              <a:cxnLst>
                <a:cxn ang="0">
                  <a:pos x="392" y="125"/>
                </a:cxn>
                <a:cxn ang="0">
                  <a:pos x="420" y="136"/>
                </a:cxn>
                <a:cxn ang="0">
                  <a:pos x="445" y="153"/>
                </a:cxn>
                <a:cxn ang="0">
                  <a:pos x="463" y="175"/>
                </a:cxn>
                <a:cxn ang="0">
                  <a:pos x="476" y="200"/>
                </a:cxn>
                <a:cxn ang="0">
                  <a:pos x="480" y="227"/>
                </a:cxn>
                <a:cxn ang="0">
                  <a:pos x="480" y="237"/>
                </a:cxn>
                <a:cxn ang="0">
                  <a:pos x="472" y="264"/>
                </a:cxn>
                <a:cxn ang="0">
                  <a:pos x="457" y="289"/>
                </a:cxn>
                <a:cxn ang="0">
                  <a:pos x="435" y="310"/>
                </a:cxn>
                <a:cxn ang="0">
                  <a:pos x="408" y="325"/>
                </a:cxn>
                <a:cxn ang="0">
                  <a:pos x="376" y="334"/>
                </a:cxn>
                <a:cxn ang="0">
                  <a:pos x="376" y="220"/>
                </a:cxn>
                <a:cxn ang="0">
                  <a:pos x="362" y="195"/>
                </a:cxn>
                <a:cxn ang="0">
                  <a:pos x="347" y="185"/>
                </a:cxn>
                <a:cxn ang="0">
                  <a:pos x="329" y="182"/>
                </a:cxn>
                <a:cxn ang="0">
                  <a:pos x="301" y="190"/>
                </a:cxn>
                <a:cxn ang="0">
                  <a:pos x="288" y="203"/>
                </a:cxn>
                <a:cxn ang="0">
                  <a:pos x="280" y="230"/>
                </a:cxn>
                <a:cxn ang="0">
                  <a:pos x="210" y="315"/>
                </a:cxn>
                <a:cxn ang="0">
                  <a:pos x="246" y="313"/>
                </a:cxn>
                <a:cxn ang="0">
                  <a:pos x="259" y="306"/>
                </a:cxn>
                <a:cxn ang="0">
                  <a:pos x="268" y="295"/>
                </a:cxn>
                <a:cxn ang="0">
                  <a:pos x="268" y="277"/>
                </a:cxn>
                <a:cxn ang="0">
                  <a:pos x="258" y="259"/>
                </a:cxn>
                <a:cxn ang="0">
                  <a:pos x="188" y="190"/>
                </a:cxn>
                <a:cxn ang="0">
                  <a:pos x="162" y="182"/>
                </a:cxn>
                <a:cxn ang="0">
                  <a:pos x="143" y="185"/>
                </a:cxn>
                <a:cxn ang="0">
                  <a:pos x="65" y="259"/>
                </a:cxn>
                <a:cxn ang="0">
                  <a:pos x="54" y="278"/>
                </a:cxn>
                <a:cxn ang="0">
                  <a:pos x="54" y="295"/>
                </a:cxn>
                <a:cxn ang="0">
                  <a:pos x="59" y="304"/>
                </a:cxn>
                <a:cxn ang="0">
                  <a:pos x="67" y="310"/>
                </a:cxn>
                <a:cxn ang="0">
                  <a:pos x="114" y="315"/>
                </a:cxn>
                <a:cxn ang="0">
                  <a:pos x="101" y="334"/>
                </a:cxn>
                <a:cxn ang="0">
                  <a:pos x="69" y="324"/>
                </a:cxn>
                <a:cxn ang="0">
                  <a:pos x="41" y="306"/>
                </a:cxn>
                <a:cxn ang="0">
                  <a:pos x="20" y="284"/>
                </a:cxn>
                <a:cxn ang="0">
                  <a:pos x="5" y="257"/>
                </a:cxn>
                <a:cxn ang="0">
                  <a:pos x="0" y="227"/>
                </a:cxn>
                <a:cxn ang="0">
                  <a:pos x="1" y="219"/>
                </a:cxn>
                <a:cxn ang="0">
                  <a:pos x="7" y="191"/>
                </a:cxn>
                <a:cxn ang="0">
                  <a:pos x="22" y="167"/>
                </a:cxn>
                <a:cxn ang="0">
                  <a:pos x="43" y="147"/>
                </a:cxn>
                <a:cxn ang="0">
                  <a:pos x="69" y="132"/>
                </a:cxn>
                <a:cxn ang="0">
                  <a:pos x="99" y="122"/>
                </a:cxn>
                <a:cxn ang="0">
                  <a:pos x="99" y="118"/>
                </a:cxn>
                <a:cxn ang="0">
                  <a:pos x="105" y="84"/>
                </a:cxn>
                <a:cxn ang="0">
                  <a:pos x="123" y="53"/>
                </a:cxn>
                <a:cxn ang="0">
                  <a:pos x="151" y="27"/>
                </a:cxn>
                <a:cxn ang="0">
                  <a:pos x="185" y="10"/>
                </a:cxn>
                <a:cxn ang="0">
                  <a:pos x="226" y="1"/>
                </a:cxn>
                <a:cxn ang="0">
                  <a:pos x="255" y="1"/>
                </a:cxn>
                <a:cxn ang="0">
                  <a:pos x="295" y="10"/>
                </a:cxn>
                <a:cxn ang="0">
                  <a:pos x="330" y="27"/>
                </a:cxn>
                <a:cxn ang="0">
                  <a:pos x="357" y="53"/>
                </a:cxn>
                <a:cxn ang="0">
                  <a:pos x="374" y="84"/>
                </a:cxn>
                <a:cxn ang="0">
                  <a:pos x="381" y="118"/>
                </a:cxn>
                <a:cxn ang="0">
                  <a:pos x="381" y="122"/>
                </a:cxn>
              </a:cxnLst>
              <a:rect l="0" t="0" r="r" b="b"/>
              <a:pathLst>
                <a:path w="480" h="336">
                  <a:moveTo>
                    <a:pt x="381" y="122"/>
                  </a:moveTo>
                  <a:lnTo>
                    <a:pt x="381" y="122"/>
                  </a:lnTo>
                  <a:lnTo>
                    <a:pt x="392" y="125"/>
                  </a:lnTo>
                  <a:lnTo>
                    <a:pt x="402" y="127"/>
                  </a:lnTo>
                  <a:lnTo>
                    <a:pt x="412" y="132"/>
                  </a:lnTo>
                  <a:lnTo>
                    <a:pt x="420" y="136"/>
                  </a:lnTo>
                  <a:lnTo>
                    <a:pt x="429" y="141"/>
                  </a:lnTo>
                  <a:lnTo>
                    <a:pt x="438" y="147"/>
                  </a:lnTo>
                  <a:lnTo>
                    <a:pt x="445" y="153"/>
                  </a:lnTo>
                  <a:lnTo>
                    <a:pt x="451" y="161"/>
                  </a:lnTo>
                  <a:lnTo>
                    <a:pt x="457" y="167"/>
                  </a:lnTo>
                  <a:lnTo>
                    <a:pt x="463" y="175"/>
                  </a:lnTo>
                  <a:lnTo>
                    <a:pt x="468" y="183"/>
                  </a:lnTo>
                  <a:lnTo>
                    <a:pt x="472" y="191"/>
                  </a:lnTo>
                  <a:lnTo>
                    <a:pt x="476" y="200"/>
                  </a:lnTo>
                  <a:lnTo>
                    <a:pt x="478" y="209"/>
                  </a:lnTo>
                  <a:lnTo>
                    <a:pt x="480" y="219"/>
                  </a:lnTo>
                  <a:lnTo>
                    <a:pt x="480" y="227"/>
                  </a:lnTo>
                  <a:lnTo>
                    <a:pt x="480" y="227"/>
                  </a:lnTo>
                  <a:lnTo>
                    <a:pt x="480" y="227"/>
                  </a:lnTo>
                  <a:lnTo>
                    <a:pt x="480" y="237"/>
                  </a:lnTo>
                  <a:lnTo>
                    <a:pt x="478" y="247"/>
                  </a:lnTo>
                  <a:lnTo>
                    <a:pt x="476" y="256"/>
                  </a:lnTo>
                  <a:lnTo>
                    <a:pt x="472" y="264"/>
                  </a:lnTo>
                  <a:lnTo>
                    <a:pt x="467" y="273"/>
                  </a:lnTo>
                  <a:lnTo>
                    <a:pt x="462" y="282"/>
                  </a:lnTo>
                  <a:lnTo>
                    <a:pt x="457" y="289"/>
                  </a:lnTo>
                  <a:lnTo>
                    <a:pt x="450" y="297"/>
                  </a:lnTo>
                  <a:lnTo>
                    <a:pt x="442" y="304"/>
                  </a:lnTo>
                  <a:lnTo>
                    <a:pt x="435" y="310"/>
                  </a:lnTo>
                  <a:lnTo>
                    <a:pt x="426" y="315"/>
                  </a:lnTo>
                  <a:lnTo>
                    <a:pt x="418" y="320"/>
                  </a:lnTo>
                  <a:lnTo>
                    <a:pt x="408" y="325"/>
                  </a:lnTo>
                  <a:lnTo>
                    <a:pt x="398" y="329"/>
                  </a:lnTo>
                  <a:lnTo>
                    <a:pt x="387" y="331"/>
                  </a:lnTo>
                  <a:lnTo>
                    <a:pt x="376" y="334"/>
                  </a:lnTo>
                  <a:lnTo>
                    <a:pt x="376" y="230"/>
                  </a:lnTo>
                  <a:lnTo>
                    <a:pt x="376" y="230"/>
                  </a:lnTo>
                  <a:lnTo>
                    <a:pt x="376" y="220"/>
                  </a:lnTo>
                  <a:lnTo>
                    <a:pt x="372" y="211"/>
                  </a:lnTo>
                  <a:lnTo>
                    <a:pt x="368" y="203"/>
                  </a:lnTo>
                  <a:lnTo>
                    <a:pt x="362" y="195"/>
                  </a:lnTo>
                  <a:lnTo>
                    <a:pt x="362" y="195"/>
                  </a:lnTo>
                  <a:lnTo>
                    <a:pt x="355" y="190"/>
                  </a:lnTo>
                  <a:lnTo>
                    <a:pt x="347" y="185"/>
                  </a:lnTo>
                  <a:lnTo>
                    <a:pt x="337" y="183"/>
                  </a:lnTo>
                  <a:lnTo>
                    <a:pt x="329" y="182"/>
                  </a:lnTo>
                  <a:lnTo>
                    <a:pt x="329" y="182"/>
                  </a:lnTo>
                  <a:lnTo>
                    <a:pt x="319" y="183"/>
                  </a:lnTo>
                  <a:lnTo>
                    <a:pt x="309" y="185"/>
                  </a:lnTo>
                  <a:lnTo>
                    <a:pt x="301" y="190"/>
                  </a:lnTo>
                  <a:lnTo>
                    <a:pt x="294" y="195"/>
                  </a:lnTo>
                  <a:lnTo>
                    <a:pt x="294" y="195"/>
                  </a:lnTo>
                  <a:lnTo>
                    <a:pt x="288" y="203"/>
                  </a:lnTo>
                  <a:lnTo>
                    <a:pt x="284" y="211"/>
                  </a:lnTo>
                  <a:lnTo>
                    <a:pt x="280" y="220"/>
                  </a:lnTo>
                  <a:lnTo>
                    <a:pt x="280" y="230"/>
                  </a:lnTo>
                  <a:lnTo>
                    <a:pt x="280" y="336"/>
                  </a:lnTo>
                  <a:lnTo>
                    <a:pt x="210" y="336"/>
                  </a:lnTo>
                  <a:lnTo>
                    <a:pt x="210" y="315"/>
                  </a:lnTo>
                  <a:lnTo>
                    <a:pt x="235" y="315"/>
                  </a:lnTo>
                  <a:lnTo>
                    <a:pt x="235" y="315"/>
                  </a:lnTo>
                  <a:lnTo>
                    <a:pt x="246" y="313"/>
                  </a:lnTo>
                  <a:lnTo>
                    <a:pt x="255" y="310"/>
                  </a:lnTo>
                  <a:lnTo>
                    <a:pt x="255" y="310"/>
                  </a:lnTo>
                  <a:lnTo>
                    <a:pt x="259" y="306"/>
                  </a:lnTo>
                  <a:lnTo>
                    <a:pt x="263" y="303"/>
                  </a:lnTo>
                  <a:lnTo>
                    <a:pt x="266" y="299"/>
                  </a:lnTo>
                  <a:lnTo>
                    <a:pt x="268" y="295"/>
                  </a:lnTo>
                  <a:lnTo>
                    <a:pt x="268" y="295"/>
                  </a:lnTo>
                  <a:lnTo>
                    <a:pt x="269" y="285"/>
                  </a:lnTo>
                  <a:lnTo>
                    <a:pt x="268" y="277"/>
                  </a:lnTo>
                  <a:lnTo>
                    <a:pt x="268" y="277"/>
                  </a:lnTo>
                  <a:lnTo>
                    <a:pt x="264" y="268"/>
                  </a:lnTo>
                  <a:lnTo>
                    <a:pt x="258" y="259"/>
                  </a:lnTo>
                  <a:lnTo>
                    <a:pt x="195" y="198"/>
                  </a:lnTo>
                  <a:lnTo>
                    <a:pt x="195" y="198"/>
                  </a:lnTo>
                  <a:lnTo>
                    <a:pt x="188" y="190"/>
                  </a:lnTo>
                  <a:lnTo>
                    <a:pt x="179" y="185"/>
                  </a:lnTo>
                  <a:lnTo>
                    <a:pt x="170" y="183"/>
                  </a:lnTo>
                  <a:lnTo>
                    <a:pt x="162" y="182"/>
                  </a:lnTo>
                  <a:lnTo>
                    <a:pt x="162" y="182"/>
                  </a:lnTo>
                  <a:lnTo>
                    <a:pt x="152" y="183"/>
                  </a:lnTo>
                  <a:lnTo>
                    <a:pt x="143" y="185"/>
                  </a:lnTo>
                  <a:lnTo>
                    <a:pt x="136" y="190"/>
                  </a:lnTo>
                  <a:lnTo>
                    <a:pt x="127" y="198"/>
                  </a:lnTo>
                  <a:lnTo>
                    <a:pt x="65" y="259"/>
                  </a:lnTo>
                  <a:lnTo>
                    <a:pt x="65" y="259"/>
                  </a:lnTo>
                  <a:lnTo>
                    <a:pt x="58" y="268"/>
                  </a:lnTo>
                  <a:lnTo>
                    <a:pt x="54" y="278"/>
                  </a:lnTo>
                  <a:lnTo>
                    <a:pt x="54" y="278"/>
                  </a:lnTo>
                  <a:lnTo>
                    <a:pt x="53" y="287"/>
                  </a:lnTo>
                  <a:lnTo>
                    <a:pt x="54" y="295"/>
                  </a:lnTo>
                  <a:lnTo>
                    <a:pt x="54" y="295"/>
                  </a:lnTo>
                  <a:lnTo>
                    <a:pt x="57" y="300"/>
                  </a:lnTo>
                  <a:lnTo>
                    <a:pt x="59" y="304"/>
                  </a:lnTo>
                  <a:lnTo>
                    <a:pt x="63" y="306"/>
                  </a:lnTo>
                  <a:lnTo>
                    <a:pt x="67" y="310"/>
                  </a:lnTo>
                  <a:lnTo>
                    <a:pt x="67" y="310"/>
                  </a:lnTo>
                  <a:lnTo>
                    <a:pt x="75" y="314"/>
                  </a:lnTo>
                  <a:lnTo>
                    <a:pt x="85" y="315"/>
                  </a:lnTo>
                  <a:lnTo>
                    <a:pt x="114" y="315"/>
                  </a:lnTo>
                  <a:lnTo>
                    <a:pt x="114" y="335"/>
                  </a:lnTo>
                  <a:lnTo>
                    <a:pt x="114" y="335"/>
                  </a:lnTo>
                  <a:lnTo>
                    <a:pt x="101" y="334"/>
                  </a:lnTo>
                  <a:lnTo>
                    <a:pt x="90" y="331"/>
                  </a:lnTo>
                  <a:lnTo>
                    <a:pt x="79" y="327"/>
                  </a:lnTo>
                  <a:lnTo>
                    <a:pt x="69" y="324"/>
                  </a:lnTo>
                  <a:lnTo>
                    <a:pt x="59" y="319"/>
                  </a:lnTo>
                  <a:lnTo>
                    <a:pt x="49" y="313"/>
                  </a:lnTo>
                  <a:lnTo>
                    <a:pt x="41" y="306"/>
                  </a:lnTo>
                  <a:lnTo>
                    <a:pt x="33" y="300"/>
                  </a:lnTo>
                  <a:lnTo>
                    <a:pt x="26" y="292"/>
                  </a:lnTo>
                  <a:lnTo>
                    <a:pt x="20" y="284"/>
                  </a:lnTo>
                  <a:lnTo>
                    <a:pt x="13" y="275"/>
                  </a:lnTo>
                  <a:lnTo>
                    <a:pt x="8" y="267"/>
                  </a:lnTo>
                  <a:lnTo>
                    <a:pt x="5" y="257"/>
                  </a:lnTo>
                  <a:lnTo>
                    <a:pt x="2" y="248"/>
                  </a:lnTo>
                  <a:lnTo>
                    <a:pt x="1" y="237"/>
                  </a:lnTo>
                  <a:lnTo>
                    <a:pt x="0" y="227"/>
                  </a:lnTo>
                  <a:lnTo>
                    <a:pt x="0" y="227"/>
                  </a:lnTo>
                  <a:lnTo>
                    <a:pt x="0" y="227"/>
                  </a:lnTo>
                  <a:lnTo>
                    <a:pt x="1" y="219"/>
                  </a:lnTo>
                  <a:lnTo>
                    <a:pt x="2" y="209"/>
                  </a:lnTo>
                  <a:lnTo>
                    <a:pt x="5" y="200"/>
                  </a:lnTo>
                  <a:lnTo>
                    <a:pt x="7" y="191"/>
                  </a:lnTo>
                  <a:lnTo>
                    <a:pt x="12" y="183"/>
                  </a:lnTo>
                  <a:lnTo>
                    <a:pt x="16" y="175"/>
                  </a:lnTo>
                  <a:lnTo>
                    <a:pt x="22" y="167"/>
                  </a:lnTo>
                  <a:lnTo>
                    <a:pt x="28" y="161"/>
                  </a:lnTo>
                  <a:lnTo>
                    <a:pt x="36" y="153"/>
                  </a:lnTo>
                  <a:lnTo>
                    <a:pt x="43" y="147"/>
                  </a:lnTo>
                  <a:lnTo>
                    <a:pt x="50" y="141"/>
                  </a:lnTo>
                  <a:lnTo>
                    <a:pt x="59" y="136"/>
                  </a:lnTo>
                  <a:lnTo>
                    <a:pt x="69" y="132"/>
                  </a:lnTo>
                  <a:lnTo>
                    <a:pt x="79" y="127"/>
                  </a:lnTo>
                  <a:lnTo>
                    <a:pt x="89" y="125"/>
                  </a:lnTo>
                  <a:lnTo>
                    <a:pt x="99" y="122"/>
                  </a:lnTo>
                  <a:lnTo>
                    <a:pt x="99" y="122"/>
                  </a:lnTo>
                  <a:lnTo>
                    <a:pt x="99" y="118"/>
                  </a:lnTo>
                  <a:lnTo>
                    <a:pt x="99" y="118"/>
                  </a:lnTo>
                  <a:lnTo>
                    <a:pt x="100" y="107"/>
                  </a:lnTo>
                  <a:lnTo>
                    <a:pt x="101" y="95"/>
                  </a:lnTo>
                  <a:lnTo>
                    <a:pt x="105" y="84"/>
                  </a:lnTo>
                  <a:lnTo>
                    <a:pt x="110" y="73"/>
                  </a:lnTo>
                  <a:lnTo>
                    <a:pt x="116" y="63"/>
                  </a:lnTo>
                  <a:lnTo>
                    <a:pt x="123" y="53"/>
                  </a:lnTo>
                  <a:lnTo>
                    <a:pt x="131" y="43"/>
                  </a:lnTo>
                  <a:lnTo>
                    <a:pt x="141" y="36"/>
                  </a:lnTo>
                  <a:lnTo>
                    <a:pt x="151" y="27"/>
                  </a:lnTo>
                  <a:lnTo>
                    <a:pt x="161" y="21"/>
                  </a:lnTo>
                  <a:lnTo>
                    <a:pt x="173" y="15"/>
                  </a:lnTo>
                  <a:lnTo>
                    <a:pt x="185" y="10"/>
                  </a:lnTo>
                  <a:lnTo>
                    <a:pt x="198" y="6"/>
                  </a:lnTo>
                  <a:lnTo>
                    <a:pt x="211" y="2"/>
                  </a:lnTo>
                  <a:lnTo>
                    <a:pt x="226" y="1"/>
                  </a:lnTo>
                  <a:lnTo>
                    <a:pt x="240" y="0"/>
                  </a:lnTo>
                  <a:lnTo>
                    <a:pt x="240" y="0"/>
                  </a:lnTo>
                  <a:lnTo>
                    <a:pt x="255" y="1"/>
                  </a:lnTo>
                  <a:lnTo>
                    <a:pt x="268" y="2"/>
                  </a:lnTo>
                  <a:lnTo>
                    <a:pt x="282" y="6"/>
                  </a:lnTo>
                  <a:lnTo>
                    <a:pt x="295" y="10"/>
                  </a:lnTo>
                  <a:lnTo>
                    <a:pt x="308" y="15"/>
                  </a:lnTo>
                  <a:lnTo>
                    <a:pt x="319" y="21"/>
                  </a:lnTo>
                  <a:lnTo>
                    <a:pt x="330" y="27"/>
                  </a:lnTo>
                  <a:lnTo>
                    <a:pt x="340" y="36"/>
                  </a:lnTo>
                  <a:lnTo>
                    <a:pt x="348" y="43"/>
                  </a:lnTo>
                  <a:lnTo>
                    <a:pt x="357" y="53"/>
                  </a:lnTo>
                  <a:lnTo>
                    <a:pt x="365" y="63"/>
                  </a:lnTo>
                  <a:lnTo>
                    <a:pt x="369" y="73"/>
                  </a:lnTo>
                  <a:lnTo>
                    <a:pt x="374" y="84"/>
                  </a:lnTo>
                  <a:lnTo>
                    <a:pt x="378" y="95"/>
                  </a:lnTo>
                  <a:lnTo>
                    <a:pt x="381" y="107"/>
                  </a:lnTo>
                  <a:lnTo>
                    <a:pt x="381" y="118"/>
                  </a:lnTo>
                  <a:lnTo>
                    <a:pt x="381" y="118"/>
                  </a:lnTo>
                  <a:lnTo>
                    <a:pt x="381" y="122"/>
                  </a:lnTo>
                  <a:lnTo>
                    <a:pt x="381" y="12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35" name="Freeform 18">
              <a:extLst>
                <a:ext uri="{FF2B5EF4-FFF2-40B4-BE49-F238E27FC236}">
                  <a16:creationId xmlns:a16="http://schemas.microsoft.com/office/drawing/2014/main" id="{CB12561D-075D-48B2-8EF0-D64F22494318}"/>
                </a:ext>
              </a:extLst>
            </p:cNvPr>
            <p:cNvSpPr>
              <a:spLocks/>
            </p:cNvSpPr>
            <p:nvPr/>
          </p:nvSpPr>
          <p:spPr bwMode="auto">
            <a:xfrm>
              <a:off x="1355705" y="3643325"/>
              <a:ext cx="147638" cy="207963"/>
            </a:xfrm>
            <a:custGeom>
              <a:avLst/>
              <a:gdLst/>
              <a:ahLst/>
              <a:cxnLst>
                <a:cxn ang="0">
                  <a:pos x="126" y="162"/>
                </a:cxn>
                <a:cxn ang="0">
                  <a:pos x="126" y="32"/>
                </a:cxn>
                <a:cxn ang="0">
                  <a:pos x="126" y="32"/>
                </a:cxn>
                <a:cxn ang="0">
                  <a:pos x="125" y="26"/>
                </a:cxn>
                <a:cxn ang="0">
                  <a:pos x="123" y="19"/>
                </a:cxn>
                <a:cxn ang="0">
                  <a:pos x="120" y="13"/>
                </a:cxn>
                <a:cxn ang="0">
                  <a:pos x="116" y="8"/>
                </a:cxn>
                <a:cxn ang="0">
                  <a:pos x="111" y="5"/>
                </a:cxn>
                <a:cxn ang="0">
                  <a:pos x="106" y="2"/>
                </a:cxn>
                <a:cxn ang="0">
                  <a:pos x="100" y="0"/>
                </a:cxn>
                <a:cxn ang="0">
                  <a:pos x="94" y="0"/>
                </a:cxn>
                <a:cxn ang="0">
                  <a:pos x="94" y="0"/>
                </a:cxn>
                <a:cxn ang="0">
                  <a:pos x="94" y="0"/>
                </a:cxn>
                <a:cxn ang="0">
                  <a:pos x="86" y="0"/>
                </a:cxn>
                <a:cxn ang="0">
                  <a:pos x="80" y="2"/>
                </a:cxn>
                <a:cxn ang="0">
                  <a:pos x="75" y="5"/>
                </a:cxn>
                <a:cxn ang="0">
                  <a:pos x="70" y="8"/>
                </a:cxn>
                <a:cxn ang="0">
                  <a:pos x="66" y="13"/>
                </a:cxn>
                <a:cxn ang="0">
                  <a:pos x="64" y="19"/>
                </a:cxn>
                <a:cxn ang="0">
                  <a:pos x="62" y="26"/>
                </a:cxn>
                <a:cxn ang="0">
                  <a:pos x="62" y="32"/>
                </a:cxn>
                <a:cxn ang="0">
                  <a:pos x="62" y="162"/>
                </a:cxn>
                <a:cxn ang="0">
                  <a:pos x="17" y="162"/>
                </a:cxn>
                <a:cxn ang="0">
                  <a:pos x="17" y="162"/>
                </a:cxn>
                <a:cxn ang="0">
                  <a:pos x="11" y="162"/>
                </a:cxn>
                <a:cxn ang="0">
                  <a:pos x="6" y="164"/>
                </a:cxn>
                <a:cxn ang="0">
                  <a:pos x="2" y="167"/>
                </a:cxn>
                <a:cxn ang="0">
                  <a:pos x="1" y="170"/>
                </a:cxn>
                <a:cxn ang="0">
                  <a:pos x="0" y="175"/>
                </a:cxn>
                <a:cxn ang="0">
                  <a:pos x="1" y="179"/>
                </a:cxn>
                <a:cxn ang="0">
                  <a:pos x="3" y="184"/>
                </a:cxn>
                <a:cxn ang="0">
                  <a:pos x="7" y="189"/>
                </a:cxn>
                <a:cxn ang="0">
                  <a:pos x="70" y="251"/>
                </a:cxn>
                <a:cxn ang="0">
                  <a:pos x="70" y="251"/>
                </a:cxn>
                <a:cxn ang="0">
                  <a:pos x="76" y="256"/>
                </a:cxn>
                <a:cxn ang="0">
                  <a:pos x="81" y="259"/>
                </a:cxn>
                <a:cxn ang="0">
                  <a:pos x="88" y="262"/>
                </a:cxn>
                <a:cxn ang="0">
                  <a:pos x="92" y="263"/>
                </a:cxn>
                <a:cxn ang="0">
                  <a:pos x="99" y="262"/>
                </a:cxn>
                <a:cxn ang="0">
                  <a:pos x="105" y="259"/>
                </a:cxn>
                <a:cxn ang="0">
                  <a:pos x="110" y="256"/>
                </a:cxn>
                <a:cxn ang="0">
                  <a:pos x="116" y="251"/>
                </a:cxn>
                <a:cxn ang="0">
                  <a:pos x="179" y="189"/>
                </a:cxn>
                <a:cxn ang="0">
                  <a:pos x="179" y="189"/>
                </a:cxn>
                <a:cxn ang="0">
                  <a:pos x="183" y="185"/>
                </a:cxn>
                <a:cxn ang="0">
                  <a:pos x="184" y="180"/>
                </a:cxn>
                <a:cxn ang="0">
                  <a:pos x="185" y="175"/>
                </a:cxn>
                <a:cxn ang="0">
                  <a:pos x="185" y="171"/>
                </a:cxn>
                <a:cxn ang="0">
                  <a:pos x="183" y="168"/>
                </a:cxn>
                <a:cxn ang="0">
                  <a:pos x="179" y="164"/>
                </a:cxn>
                <a:cxn ang="0">
                  <a:pos x="173" y="162"/>
                </a:cxn>
                <a:cxn ang="0">
                  <a:pos x="165" y="162"/>
                </a:cxn>
                <a:cxn ang="0">
                  <a:pos x="126" y="162"/>
                </a:cxn>
              </a:cxnLst>
              <a:rect l="0" t="0" r="r" b="b"/>
              <a:pathLst>
                <a:path w="185" h="263">
                  <a:moveTo>
                    <a:pt x="126" y="162"/>
                  </a:moveTo>
                  <a:lnTo>
                    <a:pt x="126" y="32"/>
                  </a:lnTo>
                  <a:lnTo>
                    <a:pt x="126" y="32"/>
                  </a:lnTo>
                  <a:lnTo>
                    <a:pt x="125" y="26"/>
                  </a:lnTo>
                  <a:lnTo>
                    <a:pt x="123" y="19"/>
                  </a:lnTo>
                  <a:lnTo>
                    <a:pt x="120" y="13"/>
                  </a:lnTo>
                  <a:lnTo>
                    <a:pt x="116" y="8"/>
                  </a:lnTo>
                  <a:lnTo>
                    <a:pt x="111" y="5"/>
                  </a:lnTo>
                  <a:lnTo>
                    <a:pt x="106" y="2"/>
                  </a:lnTo>
                  <a:lnTo>
                    <a:pt x="100" y="0"/>
                  </a:lnTo>
                  <a:lnTo>
                    <a:pt x="94" y="0"/>
                  </a:lnTo>
                  <a:lnTo>
                    <a:pt x="94" y="0"/>
                  </a:lnTo>
                  <a:lnTo>
                    <a:pt x="94" y="0"/>
                  </a:lnTo>
                  <a:lnTo>
                    <a:pt x="86" y="0"/>
                  </a:lnTo>
                  <a:lnTo>
                    <a:pt x="80" y="2"/>
                  </a:lnTo>
                  <a:lnTo>
                    <a:pt x="75" y="5"/>
                  </a:lnTo>
                  <a:lnTo>
                    <a:pt x="70" y="8"/>
                  </a:lnTo>
                  <a:lnTo>
                    <a:pt x="66" y="13"/>
                  </a:lnTo>
                  <a:lnTo>
                    <a:pt x="64" y="19"/>
                  </a:lnTo>
                  <a:lnTo>
                    <a:pt x="62" y="26"/>
                  </a:lnTo>
                  <a:lnTo>
                    <a:pt x="62" y="32"/>
                  </a:lnTo>
                  <a:lnTo>
                    <a:pt x="62" y="162"/>
                  </a:lnTo>
                  <a:lnTo>
                    <a:pt x="17" y="162"/>
                  </a:lnTo>
                  <a:lnTo>
                    <a:pt x="17" y="162"/>
                  </a:lnTo>
                  <a:lnTo>
                    <a:pt x="11" y="162"/>
                  </a:lnTo>
                  <a:lnTo>
                    <a:pt x="6" y="164"/>
                  </a:lnTo>
                  <a:lnTo>
                    <a:pt x="2" y="167"/>
                  </a:lnTo>
                  <a:lnTo>
                    <a:pt x="1" y="170"/>
                  </a:lnTo>
                  <a:lnTo>
                    <a:pt x="0" y="175"/>
                  </a:lnTo>
                  <a:lnTo>
                    <a:pt x="1" y="179"/>
                  </a:lnTo>
                  <a:lnTo>
                    <a:pt x="3" y="184"/>
                  </a:lnTo>
                  <a:lnTo>
                    <a:pt x="7" y="189"/>
                  </a:lnTo>
                  <a:lnTo>
                    <a:pt x="70" y="251"/>
                  </a:lnTo>
                  <a:lnTo>
                    <a:pt x="70" y="251"/>
                  </a:lnTo>
                  <a:lnTo>
                    <a:pt x="76" y="256"/>
                  </a:lnTo>
                  <a:lnTo>
                    <a:pt x="81" y="259"/>
                  </a:lnTo>
                  <a:lnTo>
                    <a:pt x="88" y="262"/>
                  </a:lnTo>
                  <a:lnTo>
                    <a:pt x="92" y="263"/>
                  </a:lnTo>
                  <a:lnTo>
                    <a:pt x="99" y="262"/>
                  </a:lnTo>
                  <a:lnTo>
                    <a:pt x="105" y="259"/>
                  </a:lnTo>
                  <a:lnTo>
                    <a:pt x="110" y="256"/>
                  </a:lnTo>
                  <a:lnTo>
                    <a:pt x="116" y="251"/>
                  </a:lnTo>
                  <a:lnTo>
                    <a:pt x="179" y="189"/>
                  </a:lnTo>
                  <a:lnTo>
                    <a:pt x="179" y="189"/>
                  </a:lnTo>
                  <a:lnTo>
                    <a:pt x="183" y="185"/>
                  </a:lnTo>
                  <a:lnTo>
                    <a:pt x="184" y="180"/>
                  </a:lnTo>
                  <a:lnTo>
                    <a:pt x="185" y="175"/>
                  </a:lnTo>
                  <a:lnTo>
                    <a:pt x="185" y="171"/>
                  </a:lnTo>
                  <a:lnTo>
                    <a:pt x="183" y="168"/>
                  </a:lnTo>
                  <a:lnTo>
                    <a:pt x="179" y="164"/>
                  </a:lnTo>
                  <a:lnTo>
                    <a:pt x="173" y="162"/>
                  </a:lnTo>
                  <a:lnTo>
                    <a:pt x="165" y="162"/>
                  </a:lnTo>
                  <a:lnTo>
                    <a:pt x="126" y="16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46" name="Group 127">
            <a:extLst>
              <a:ext uri="{FF2B5EF4-FFF2-40B4-BE49-F238E27FC236}">
                <a16:creationId xmlns:a16="http://schemas.microsoft.com/office/drawing/2014/main" id="{A18AD827-AC8A-40A0-9EDF-B03BD0B99341}"/>
              </a:ext>
            </a:extLst>
          </p:cNvPr>
          <p:cNvGrpSpPr/>
          <p:nvPr/>
        </p:nvGrpSpPr>
        <p:grpSpPr>
          <a:xfrm>
            <a:off x="612223" y="-1264467"/>
            <a:ext cx="657499" cy="433947"/>
            <a:chOff x="2141517" y="2373325"/>
            <a:chExt cx="476251" cy="314325"/>
          </a:xfrm>
          <a:solidFill>
            <a:schemeClr val="tx2"/>
          </a:solidFill>
        </p:grpSpPr>
        <p:sp>
          <p:nvSpPr>
            <p:cNvPr id="47" name="Rectangle 22">
              <a:extLst>
                <a:ext uri="{FF2B5EF4-FFF2-40B4-BE49-F238E27FC236}">
                  <a16:creationId xmlns:a16="http://schemas.microsoft.com/office/drawing/2014/main" id="{8AD2A0C9-AD35-45A3-972C-E7A9AE472074}"/>
                </a:ext>
              </a:extLst>
            </p:cNvPr>
            <p:cNvSpPr>
              <a:spLocks noChangeArrowheads="1"/>
            </p:cNvSpPr>
            <p:nvPr/>
          </p:nvSpPr>
          <p:spPr bwMode="auto">
            <a:xfrm>
              <a:off x="2200255" y="2678125"/>
              <a:ext cx="387350" cy="952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48" name="Rectangle 23">
              <a:extLst>
                <a:ext uri="{FF2B5EF4-FFF2-40B4-BE49-F238E27FC236}">
                  <a16:creationId xmlns:a16="http://schemas.microsoft.com/office/drawing/2014/main" id="{B5699FC8-F554-43DA-9907-15B2AF4203D0}"/>
                </a:ext>
              </a:extLst>
            </p:cNvPr>
            <p:cNvSpPr>
              <a:spLocks noChangeArrowheads="1"/>
            </p:cNvSpPr>
            <p:nvPr/>
          </p:nvSpPr>
          <p:spPr bwMode="auto">
            <a:xfrm>
              <a:off x="2517755" y="2468575"/>
              <a:ext cx="69850" cy="209550"/>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49" name="Rectangle 24">
              <a:extLst>
                <a:ext uri="{FF2B5EF4-FFF2-40B4-BE49-F238E27FC236}">
                  <a16:creationId xmlns:a16="http://schemas.microsoft.com/office/drawing/2014/main" id="{82D3177C-37FD-47C7-A5EB-8CAAA9DE2122}"/>
                </a:ext>
              </a:extLst>
            </p:cNvPr>
            <p:cNvSpPr>
              <a:spLocks noChangeArrowheads="1"/>
            </p:cNvSpPr>
            <p:nvPr/>
          </p:nvSpPr>
          <p:spPr bwMode="auto">
            <a:xfrm>
              <a:off x="2438380" y="2547950"/>
              <a:ext cx="69850" cy="130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0" name="Rectangle 25">
              <a:extLst>
                <a:ext uri="{FF2B5EF4-FFF2-40B4-BE49-F238E27FC236}">
                  <a16:creationId xmlns:a16="http://schemas.microsoft.com/office/drawing/2014/main" id="{31202460-0E5B-4001-A2ED-944BF3BADA6C}"/>
                </a:ext>
              </a:extLst>
            </p:cNvPr>
            <p:cNvSpPr>
              <a:spLocks noChangeArrowheads="1"/>
            </p:cNvSpPr>
            <p:nvPr/>
          </p:nvSpPr>
          <p:spPr bwMode="auto">
            <a:xfrm>
              <a:off x="2359005" y="2592400"/>
              <a:ext cx="69850" cy="8572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1" name="Rectangle 26">
              <a:extLst>
                <a:ext uri="{FF2B5EF4-FFF2-40B4-BE49-F238E27FC236}">
                  <a16:creationId xmlns:a16="http://schemas.microsoft.com/office/drawing/2014/main" id="{BF0F22DC-4F23-4999-8AB1-69D682A3ABCC}"/>
                </a:ext>
              </a:extLst>
            </p:cNvPr>
            <p:cNvSpPr>
              <a:spLocks noChangeArrowheads="1"/>
            </p:cNvSpPr>
            <p:nvPr/>
          </p:nvSpPr>
          <p:spPr bwMode="auto">
            <a:xfrm>
              <a:off x="2279630" y="2551125"/>
              <a:ext cx="69850" cy="127000"/>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2" name="Rectangle 27">
              <a:extLst>
                <a:ext uri="{FF2B5EF4-FFF2-40B4-BE49-F238E27FC236}">
                  <a16:creationId xmlns:a16="http://schemas.microsoft.com/office/drawing/2014/main" id="{B097C263-E5A6-4B57-BD77-A787B913A29A}"/>
                </a:ext>
              </a:extLst>
            </p:cNvPr>
            <p:cNvSpPr>
              <a:spLocks noChangeArrowheads="1"/>
            </p:cNvSpPr>
            <p:nvPr/>
          </p:nvSpPr>
          <p:spPr bwMode="auto">
            <a:xfrm>
              <a:off x="2200255" y="2587637"/>
              <a:ext cx="68263" cy="90488"/>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4" name="Freeform 28">
              <a:extLst>
                <a:ext uri="{FF2B5EF4-FFF2-40B4-BE49-F238E27FC236}">
                  <a16:creationId xmlns:a16="http://schemas.microsoft.com/office/drawing/2014/main" id="{F8E96C1F-DBB4-4421-B589-2A0E0EC7B878}"/>
                </a:ext>
              </a:extLst>
            </p:cNvPr>
            <p:cNvSpPr>
              <a:spLocks/>
            </p:cNvSpPr>
            <p:nvPr/>
          </p:nvSpPr>
          <p:spPr bwMode="auto">
            <a:xfrm>
              <a:off x="2141517" y="2559062"/>
              <a:ext cx="36513" cy="38100"/>
            </a:xfrm>
            <a:custGeom>
              <a:avLst/>
              <a:gdLst/>
              <a:ahLst/>
              <a:cxnLst>
                <a:cxn ang="0">
                  <a:pos x="22" y="0"/>
                </a:cxn>
                <a:cxn ang="0">
                  <a:pos x="22" y="0"/>
                </a:cxn>
                <a:cxn ang="0">
                  <a:pos x="27" y="0"/>
                </a:cxn>
                <a:cxn ang="0">
                  <a:pos x="32" y="1"/>
                </a:cxn>
                <a:cxn ang="0">
                  <a:pos x="36" y="3"/>
                </a:cxn>
                <a:cxn ang="0">
                  <a:pos x="40" y="7"/>
                </a:cxn>
                <a:cxn ang="0">
                  <a:pos x="42" y="10"/>
                </a:cxn>
                <a:cxn ang="0">
                  <a:pos x="45" y="15"/>
                </a:cxn>
                <a:cxn ang="0">
                  <a:pos x="46" y="18"/>
                </a:cxn>
                <a:cxn ang="0">
                  <a:pos x="46" y="23"/>
                </a:cxn>
                <a:cxn ang="0">
                  <a:pos x="46" y="23"/>
                </a:cxn>
                <a:cxn ang="0">
                  <a:pos x="46" y="28"/>
                </a:cxn>
                <a:cxn ang="0">
                  <a:pos x="45" y="32"/>
                </a:cxn>
                <a:cxn ang="0">
                  <a:pos x="42" y="36"/>
                </a:cxn>
                <a:cxn ang="0">
                  <a:pos x="40" y="39"/>
                </a:cxn>
                <a:cxn ang="0">
                  <a:pos x="36" y="43"/>
                </a:cxn>
                <a:cxn ang="0">
                  <a:pos x="32" y="44"/>
                </a:cxn>
                <a:cxn ang="0">
                  <a:pos x="27" y="45"/>
                </a:cxn>
                <a:cxn ang="0">
                  <a:pos x="22" y="47"/>
                </a:cxn>
                <a:cxn ang="0">
                  <a:pos x="22" y="47"/>
                </a:cxn>
                <a:cxn ang="0">
                  <a:pos x="19" y="45"/>
                </a:cxn>
                <a:cxn ang="0">
                  <a:pos x="14" y="44"/>
                </a:cxn>
                <a:cxn ang="0">
                  <a:pos x="10" y="43"/>
                </a:cxn>
                <a:cxn ang="0">
                  <a:pos x="6" y="39"/>
                </a:cxn>
                <a:cxn ang="0">
                  <a:pos x="4" y="36"/>
                </a:cxn>
                <a:cxn ang="0">
                  <a:pos x="1" y="32"/>
                </a:cxn>
                <a:cxn ang="0">
                  <a:pos x="0" y="28"/>
                </a:cxn>
                <a:cxn ang="0">
                  <a:pos x="0" y="23"/>
                </a:cxn>
                <a:cxn ang="0">
                  <a:pos x="0" y="23"/>
                </a:cxn>
                <a:cxn ang="0">
                  <a:pos x="0" y="18"/>
                </a:cxn>
                <a:cxn ang="0">
                  <a:pos x="1" y="15"/>
                </a:cxn>
                <a:cxn ang="0">
                  <a:pos x="4" y="10"/>
                </a:cxn>
                <a:cxn ang="0">
                  <a:pos x="6" y="7"/>
                </a:cxn>
                <a:cxn ang="0">
                  <a:pos x="10" y="3"/>
                </a:cxn>
                <a:cxn ang="0">
                  <a:pos x="14" y="1"/>
                </a:cxn>
                <a:cxn ang="0">
                  <a:pos x="19" y="0"/>
                </a:cxn>
                <a:cxn ang="0">
                  <a:pos x="22" y="0"/>
                </a:cxn>
                <a:cxn ang="0">
                  <a:pos x="22" y="0"/>
                </a:cxn>
              </a:cxnLst>
              <a:rect l="0" t="0" r="r" b="b"/>
              <a:pathLst>
                <a:path w="46" h="47">
                  <a:moveTo>
                    <a:pt x="22" y="0"/>
                  </a:moveTo>
                  <a:lnTo>
                    <a:pt x="22" y="0"/>
                  </a:lnTo>
                  <a:lnTo>
                    <a:pt x="27" y="0"/>
                  </a:lnTo>
                  <a:lnTo>
                    <a:pt x="32" y="1"/>
                  </a:lnTo>
                  <a:lnTo>
                    <a:pt x="36" y="3"/>
                  </a:lnTo>
                  <a:lnTo>
                    <a:pt x="40" y="7"/>
                  </a:lnTo>
                  <a:lnTo>
                    <a:pt x="42" y="10"/>
                  </a:lnTo>
                  <a:lnTo>
                    <a:pt x="45" y="15"/>
                  </a:lnTo>
                  <a:lnTo>
                    <a:pt x="46" y="18"/>
                  </a:lnTo>
                  <a:lnTo>
                    <a:pt x="46" y="23"/>
                  </a:lnTo>
                  <a:lnTo>
                    <a:pt x="46" y="23"/>
                  </a:lnTo>
                  <a:lnTo>
                    <a:pt x="46" y="28"/>
                  </a:lnTo>
                  <a:lnTo>
                    <a:pt x="45" y="32"/>
                  </a:lnTo>
                  <a:lnTo>
                    <a:pt x="42" y="36"/>
                  </a:lnTo>
                  <a:lnTo>
                    <a:pt x="40" y="39"/>
                  </a:lnTo>
                  <a:lnTo>
                    <a:pt x="36" y="43"/>
                  </a:lnTo>
                  <a:lnTo>
                    <a:pt x="32" y="44"/>
                  </a:lnTo>
                  <a:lnTo>
                    <a:pt x="27" y="45"/>
                  </a:lnTo>
                  <a:lnTo>
                    <a:pt x="22" y="47"/>
                  </a:lnTo>
                  <a:lnTo>
                    <a:pt x="22" y="47"/>
                  </a:lnTo>
                  <a:lnTo>
                    <a:pt x="19" y="45"/>
                  </a:lnTo>
                  <a:lnTo>
                    <a:pt x="14" y="44"/>
                  </a:lnTo>
                  <a:lnTo>
                    <a:pt x="10" y="43"/>
                  </a:lnTo>
                  <a:lnTo>
                    <a:pt x="6" y="39"/>
                  </a:lnTo>
                  <a:lnTo>
                    <a:pt x="4" y="36"/>
                  </a:lnTo>
                  <a:lnTo>
                    <a:pt x="1" y="32"/>
                  </a:lnTo>
                  <a:lnTo>
                    <a:pt x="0" y="28"/>
                  </a:lnTo>
                  <a:lnTo>
                    <a:pt x="0" y="23"/>
                  </a:lnTo>
                  <a:lnTo>
                    <a:pt x="0" y="23"/>
                  </a:lnTo>
                  <a:lnTo>
                    <a:pt x="0" y="18"/>
                  </a:lnTo>
                  <a:lnTo>
                    <a:pt x="1" y="15"/>
                  </a:lnTo>
                  <a:lnTo>
                    <a:pt x="4" y="10"/>
                  </a:lnTo>
                  <a:lnTo>
                    <a:pt x="6" y="7"/>
                  </a:lnTo>
                  <a:lnTo>
                    <a:pt x="10" y="3"/>
                  </a:lnTo>
                  <a:lnTo>
                    <a:pt x="14" y="1"/>
                  </a:lnTo>
                  <a:lnTo>
                    <a:pt x="19" y="0"/>
                  </a:lnTo>
                  <a:lnTo>
                    <a:pt x="22" y="0"/>
                  </a:lnTo>
                  <a:lnTo>
                    <a:pt x="2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5" name="Freeform 29">
              <a:extLst>
                <a:ext uri="{FF2B5EF4-FFF2-40B4-BE49-F238E27FC236}">
                  <a16:creationId xmlns:a16="http://schemas.microsoft.com/office/drawing/2014/main" id="{588E99C1-73EE-4AFC-8A21-C7580C03018C}"/>
                </a:ext>
              </a:extLst>
            </p:cNvPr>
            <p:cNvSpPr>
              <a:spLocks/>
            </p:cNvSpPr>
            <p:nvPr/>
          </p:nvSpPr>
          <p:spPr bwMode="auto">
            <a:xfrm>
              <a:off x="2568555" y="2373325"/>
              <a:ext cx="49213" cy="47625"/>
            </a:xfrm>
            <a:custGeom>
              <a:avLst/>
              <a:gdLst/>
              <a:ahLst/>
              <a:cxnLst>
                <a:cxn ang="0">
                  <a:pos x="62" y="0"/>
                </a:cxn>
                <a:cxn ang="0">
                  <a:pos x="0" y="1"/>
                </a:cxn>
                <a:cxn ang="0">
                  <a:pos x="22" y="29"/>
                </a:cxn>
                <a:cxn ang="0">
                  <a:pos x="43" y="59"/>
                </a:cxn>
                <a:cxn ang="0">
                  <a:pos x="62" y="0"/>
                </a:cxn>
              </a:cxnLst>
              <a:rect l="0" t="0" r="r" b="b"/>
              <a:pathLst>
                <a:path w="62" h="59">
                  <a:moveTo>
                    <a:pt x="62" y="0"/>
                  </a:moveTo>
                  <a:lnTo>
                    <a:pt x="0" y="1"/>
                  </a:lnTo>
                  <a:lnTo>
                    <a:pt x="22" y="29"/>
                  </a:lnTo>
                  <a:lnTo>
                    <a:pt x="43" y="59"/>
                  </a:lnTo>
                  <a:lnTo>
                    <a:pt x="6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56" name="Freeform 30">
              <a:extLst>
                <a:ext uri="{FF2B5EF4-FFF2-40B4-BE49-F238E27FC236}">
                  <a16:creationId xmlns:a16="http://schemas.microsoft.com/office/drawing/2014/main" id="{806CDE4D-B584-4F32-BD3A-6A6230199613}"/>
                </a:ext>
              </a:extLst>
            </p:cNvPr>
            <p:cNvSpPr>
              <a:spLocks/>
            </p:cNvSpPr>
            <p:nvPr/>
          </p:nvSpPr>
          <p:spPr bwMode="auto">
            <a:xfrm>
              <a:off x="2176442" y="2397137"/>
              <a:ext cx="404813" cy="169863"/>
            </a:xfrm>
            <a:custGeom>
              <a:avLst/>
              <a:gdLst/>
              <a:ahLst/>
              <a:cxnLst>
                <a:cxn ang="0">
                  <a:pos x="0" y="204"/>
                </a:cxn>
                <a:cxn ang="0">
                  <a:pos x="176" y="73"/>
                </a:cxn>
                <a:cxn ang="0">
                  <a:pos x="182" y="70"/>
                </a:cxn>
                <a:cxn ang="0">
                  <a:pos x="186" y="75"/>
                </a:cxn>
                <a:cxn ang="0">
                  <a:pos x="270" y="174"/>
                </a:cxn>
                <a:cxn ang="0">
                  <a:pos x="502" y="0"/>
                </a:cxn>
                <a:cxn ang="0">
                  <a:pos x="507" y="7"/>
                </a:cxn>
                <a:cxn ang="0">
                  <a:pos x="511" y="12"/>
                </a:cxn>
                <a:cxn ang="0">
                  <a:pos x="274" y="190"/>
                </a:cxn>
                <a:cxn ang="0">
                  <a:pos x="268" y="193"/>
                </a:cxn>
                <a:cxn ang="0">
                  <a:pos x="263" y="188"/>
                </a:cxn>
                <a:cxn ang="0">
                  <a:pos x="180" y="89"/>
                </a:cxn>
                <a:cxn ang="0">
                  <a:pos x="9" y="216"/>
                </a:cxn>
                <a:cxn ang="0">
                  <a:pos x="9" y="216"/>
                </a:cxn>
                <a:cxn ang="0">
                  <a:pos x="5" y="209"/>
                </a:cxn>
                <a:cxn ang="0">
                  <a:pos x="0" y="204"/>
                </a:cxn>
                <a:cxn ang="0">
                  <a:pos x="0" y="204"/>
                </a:cxn>
              </a:cxnLst>
              <a:rect l="0" t="0" r="r" b="b"/>
              <a:pathLst>
                <a:path w="511" h="216">
                  <a:moveTo>
                    <a:pt x="0" y="204"/>
                  </a:moveTo>
                  <a:lnTo>
                    <a:pt x="176" y="73"/>
                  </a:lnTo>
                  <a:lnTo>
                    <a:pt x="182" y="70"/>
                  </a:lnTo>
                  <a:lnTo>
                    <a:pt x="186" y="75"/>
                  </a:lnTo>
                  <a:lnTo>
                    <a:pt x="270" y="174"/>
                  </a:lnTo>
                  <a:lnTo>
                    <a:pt x="502" y="0"/>
                  </a:lnTo>
                  <a:lnTo>
                    <a:pt x="507" y="7"/>
                  </a:lnTo>
                  <a:lnTo>
                    <a:pt x="511" y="12"/>
                  </a:lnTo>
                  <a:lnTo>
                    <a:pt x="274" y="190"/>
                  </a:lnTo>
                  <a:lnTo>
                    <a:pt x="268" y="193"/>
                  </a:lnTo>
                  <a:lnTo>
                    <a:pt x="263" y="188"/>
                  </a:lnTo>
                  <a:lnTo>
                    <a:pt x="180" y="89"/>
                  </a:lnTo>
                  <a:lnTo>
                    <a:pt x="9" y="216"/>
                  </a:lnTo>
                  <a:lnTo>
                    <a:pt x="9" y="216"/>
                  </a:lnTo>
                  <a:lnTo>
                    <a:pt x="5" y="209"/>
                  </a:lnTo>
                  <a:lnTo>
                    <a:pt x="0" y="204"/>
                  </a:lnTo>
                  <a:lnTo>
                    <a:pt x="0" y="20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spTree>
    <p:extLst>
      <p:ext uri="{BB962C8B-B14F-4D97-AF65-F5344CB8AC3E}">
        <p14:creationId xmlns:p14="http://schemas.microsoft.com/office/powerpoint/2010/main" val="30316229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53">
                                            <p:txEl>
                                              <p:pRg st="0" end="0"/>
                                            </p:txEl>
                                          </p:spTgt>
                                        </p:tgtEl>
                                        <p:attrNameLst>
                                          <p:attrName>style.visibility</p:attrName>
                                        </p:attrNameLst>
                                      </p:cBhvr>
                                      <p:to>
                                        <p:strVal val="visible"/>
                                      </p:to>
                                    </p:set>
                                    <p:animEffect transition="in" filter="wipe(left)">
                                      <p:cBhvr>
                                        <p:cTn id="7" dur="500"/>
                                        <p:tgtEl>
                                          <p:spTgt spid="53">
                                            <p:txEl>
                                              <p:pRg st="0" end="0"/>
                                            </p:txEl>
                                          </p:spTgt>
                                        </p:tgtEl>
                                      </p:cBhvr>
                                    </p:animEffect>
                                  </p:childTnLst>
                                </p:cTn>
                              </p:par>
                              <p:par>
                                <p:cTn id="8" presetID="22" presetClass="entr" presetSubtype="8" fill="hold" nodeType="withEffect">
                                  <p:stCondLst>
                                    <p:cond delay="1000"/>
                                  </p:stCondLst>
                                  <p:childTnLst>
                                    <p:set>
                                      <p:cBhvr>
                                        <p:cTn id="9" dur="1" fill="hold">
                                          <p:stCondLst>
                                            <p:cond delay="0"/>
                                          </p:stCondLst>
                                        </p:cTn>
                                        <p:tgtEl>
                                          <p:spTgt spid="45">
                                            <p:txEl>
                                              <p:pRg st="0" end="0"/>
                                            </p:txEl>
                                          </p:spTgt>
                                        </p:tgtEl>
                                        <p:attrNameLst>
                                          <p:attrName>style.visibility</p:attrName>
                                        </p:attrNameLst>
                                      </p:cBhvr>
                                      <p:to>
                                        <p:strVal val="visible"/>
                                      </p:to>
                                    </p:set>
                                    <p:animEffect transition="in" filter="wipe(left)">
                                      <p:cBhvr>
                                        <p:cTn id="10" dur="500"/>
                                        <p:tgtEl>
                                          <p:spTgt spid="45">
                                            <p:txEl>
                                              <p:pRg st="0" end="0"/>
                                            </p:txEl>
                                          </p:spTgt>
                                        </p:tgtEl>
                                      </p:cBhvr>
                                    </p:animEffect>
                                  </p:childTnLst>
                                </p:cTn>
                              </p:par>
                              <p:par>
                                <p:cTn id="11" presetID="22" presetClass="entr" presetSubtype="8" fill="hold" nodeType="withEffect">
                                  <p:stCondLst>
                                    <p:cond delay="1000"/>
                                  </p:stCondLst>
                                  <p:childTnLst>
                                    <p:set>
                                      <p:cBhvr>
                                        <p:cTn id="12" dur="1" fill="hold">
                                          <p:stCondLst>
                                            <p:cond delay="0"/>
                                          </p:stCondLst>
                                        </p:cTn>
                                        <p:tgtEl>
                                          <p:spTgt spid="26">
                                            <p:txEl>
                                              <p:pRg st="0" end="0"/>
                                            </p:txEl>
                                          </p:spTgt>
                                        </p:tgtEl>
                                        <p:attrNameLst>
                                          <p:attrName>style.visibility</p:attrName>
                                        </p:attrNameLst>
                                      </p:cBhvr>
                                      <p:to>
                                        <p:strVal val="visible"/>
                                      </p:to>
                                    </p:set>
                                    <p:animEffect transition="in" filter="wipe(left)">
                                      <p:cBhvr>
                                        <p:cTn id="13" dur="500"/>
                                        <p:tgtEl>
                                          <p:spTgt spid="26">
                                            <p:txEl>
                                              <p:pRg st="0" end="0"/>
                                            </p:txEl>
                                          </p:spTgt>
                                        </p:tgtEl>
                                      </p:cBhvr>
                                    </p:animEffect>
                                  </p:childTnLst>
                                </p:cTn>
                              </p:par>
                              <p:par>
                                <p:cTn id="14" presetID="22" presetClass="entr" presetSubtype="8" fill="hold" nodeType="withEffect">
                                  <p:stCondLst>
                                    <p:cond delay="1000"/>
                                  </p:stCondLst>
                                  <p:childTnLst>
                                    <p:set>
                                      <p:cBhvr>
                                        <p:cTn id="15" dur="1" fill="hold">
                                          <p:stCondLst>
                                            <p:cond delay="0"/>
                                          </p:stCondLst>
                                        </p:cTn>
                                        <p:tgtEl>
                                          <p:spTgt spid="26">
                                            <p:txEl>
                                              <p:pRg st="1" end="1"/>
                                            </p:txEl>
                                          </p:spTgt>
                                        </p:tgtEl>
                                        <p:attrNameLst>
                                          <p:attrName>style.visibility</p:attrName>
                                        </p:attrNameLst>
                                      </p:cBhvr>
                                      <p:to>
                                        <p:strVal val="visible"/>
                                      </p:to>
                                    </p:set>
                                    <p:animEffect transition="in" filter="wipe(left)">
                                      <p:cBhvr>
                                        <p:cTn id="16" dur="500"/>
                                        <p:tgtEl>
                                          <p:spTgt spid="26">
                                            <p:txEl>
                                              <p:pRg st="1" end="1"/>
                                            </p:txEl>
                                          </p:spTgt>
                                        </p:tgtEl>
                                      </p:cBhvr>
                                    </p:animEffect>
                                  </p:childTnLst>
                                </p:cTn>
                              </p:par>
                              <p:par>
                                <p:cTn id="17" presetID="22" presetClass="entr" presetSubtype="8" fill="hold" nodeType="withEffect">
                                  <p:stCondLst>
                                    <p:cond delay="1000"/>
                                  </p:stCondLst>
                                  <p:childTnLst>
                                    <p:set>
                                      <p:cBhvr>
                                        <p:cTn id="18" dur="1" fill="hold">
                                          <p:stCondLst>
                                            <p:cond delay="0"/>
                                          </p:stCondLst>
                                        </p:cTn>
                                        <p:tgtEl>
                                          <p:spTgt spid="26">
                                            <p:txEl>
                                              <p:pRg st="2" end="2"/>
                                            </p:txEl>
                                          </p:spTgt>
                                        </p:tgtEl>
                                        <p:attrNameLst>
                                          <p:attrName>style.visibility</p:attrName>
                                        </p:attrNameLst>
                                      </p:cBhvr>
                                      <p:to>
                                        <p:strVal val="visible"/>
                                      </p:to>
                                    </p:set>
                                    <p:animEffect transition="in" filter="wipe(left)">
                                      <p:cBhvr>
                                        <p:cTn id="19" dur="500"/>
                                        <p:tgtEl>
                                          <p:spTgt spid="26">
                                            <p:txEl>
                                              <p:pRg st="2" end="2"/>
                                            </p:txEl>
                                          </p:spTgt>
                                        </p:tgtEl>
                                      </p:cBhvr>
                                    </p:animEffect>
                                  </p:childTnLst>
                                </p:cTn>
                              </p:par>
                              <p:par>
                                <p:cTn id="20" presetID="22" presetClass="entr" presetSubtype="8" fill="hold" nodeType="withEffect">
                                  <p:stCondLst>
                                    <p:cond delay="1000"/>
                                  </p:stCondLst>
                                  <p:childTnLst>
                                    <p:set>
                                      <p:cBhvr>
                                        <p:cTn id="21" dur="1" fill="hold">
                                          <p:stCondLst>
                                            <p:cond delay="0"/>
                                          </p:stCondLst>
                                        </p:cTn>
                                        <p:tgtEl>
                                          <p:spTgt spid="26">
                                            <p:txEl>
                                              <p:pRg st="3" end="3"/>
                                            </p:txEl>
                                          </p:spTgt>
                                        </p:tgtEl>
                                        <p:attrNameLst>
                                          <p:attrName>style.visibility</p:attrName>
                                        </p:attrNameLst>
                                      </p:cBhvr>
                                      <p:to>
                                        <p:strVal val="visible"/>
                                      </p:to>
                                    </p:set>
                                    <p:animEffect transition="in" filter="wipe(left)">
                                      <p:cBhvr>
                                        <p:cTn id="22" dur="500"/>
                                        <p:tgtEl>
                                          <p:spTgt spid="2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0C17AE-D8A4-4AC1-AAE3-85CC56526A2D}"/>
              </a:ext>
            </a:extLst>
          </p:cNvPr>
          <p:cNvPicPr>
            <a:picLocks noChangeAspect="1"/>
          </p:cNvPicPr>
          <p:nvPr/>
        </p:nvPicPr>
        <p:blipFill>
          <a:blip r:embed="rId3"/>
          <a:stretch>
            <a:fillRect/>
          </a:stretch>
        </p:blipFill>
        <p:spPr>
          <a:xfrm>
            <a:off x="3590215" y="3550079"/>
            <a:ext cx="6492382" cy="3296741"/>
          </a:xfrm>
          <a:prstGeom prst="rect">
            <a:avLst/>
          </a:prstGeom>
        </p:spPr>
      </p:pic>
      <p:pic>
        <p:nvPicPr>
          <p:cNvPr id="9" name="Picture 8">
            <a:extLst>
              <a:ext uri="{FF2B5EF4-FFF2-40B4-BE49-F238E27FC236}">
                <a16:creationId xmlns:a16="http://schemas.microsoft.com/office/drawing/2014/main" id="{A213EAC4-C5AD-4A4B-9E4A-8CF45D5B530B}"/>
              </a:ext>
            </a:extLst>
          </p:cNvPr>
          <p:cNvPicPr>
            <a:picLocks noChangeAspect="1"/>
          </p:cNvPicPr>
          <p:nvPr/>
        </p:nvPicPr>
        <p:blipFill>
          <a:blip r:embed="rId4"/>
          <a:stretch>
            <a:fillRect/>
          </a:stretch>
        </p:blipFill>
        <p:spPr>
          <a:xfrm>
            <a:off x="5879176" y="1165677"/>
            <a:ext cx="6021918" cy="3542992"/>
          </a:xfrm>
          <a:prstGeom prst="rect">
            <a:avLst/>
          </a:prstGeom>
        </p:spPr>
      </p:pic>
      <p:sp>
        <p:nvSpPr>
          <p:cNvPr id="51" name="Title 7">
            <a:extLst>
              <a:ext uri="{FF2B5EF4-FFF2-40B4-BE49-F238E27FC236}">
                <a16:creationId xmlns:a16="http://schemas.microsoft.com/office/drawing/2014/main" id="{C1725B10-E1B6-48D2-A1F5-2895B57B1DB6}"/>
              </a:ext>
            </a:extLst>
          </p:cNvPr>
          <p:cNvSpPr txBox="1">
            <a:spLocks/>
          </p:cNvSpPr>
          <p:nvPr/>
        </p:nvSpPr>
        <p:spPr>
          <a:xfrm>
            <a:off x="5078629" y="405116"/>
            <a:ext cx="5825886"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Exploratory Analysis</a:t>
            </a:r>
            <a:endParaRPr lang="id-ID" sz="4000" spc="0" dirty="0">
              <a:latin typeface="Aller" panose="020B0503030302020204" pitchFamily="34" charset="0"/>
            </a:endParaRPr>
          </a:p>
        </p:txBody>
      </p:sp>
      <p:pic>
        <p:nvPicPr>
          <p:cNvPr id="6" name="Picture Placeholder 5" descr="A close up of a building&#10;&#10;Description automatically generated">
            <a:extLst>
              <a:ext uri="{FF2B5EF4-FFF2-40B4-BE49-F238E27FC236}">
                <a16:creationId xmlns:a16="http://schemas.microsoft.com/office/drawing/2014/main" id="{584ABEF2-9B04-4DFD-9B13-4AF131E0B9A1}"/>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24845" b="24845"/>
          <a:stretch>
            <a:fillRect/>
          </a:stretch>
        </p:blipFill>
        <p:spPr>
          <a:xfrm>
            <a:off x="-2086357" y="-1555410"/>
            <a:ext cx="8688597" cy="2914630"/>
          </a:xfrm>
        </p:spPr>
      </p:pic>
      <p:grpSp>
        <p:nvGrpSpPr>
          <p:cNvPr id="29" name="Group 28">
            <a:extLst>
              <a:ext uri="{FF2B5EF4-FFF2-40B4-BE49-F238E27FC236}">
                <a16:creationId xmlns:a16="http://schemas.microsoft.com/office/drawing/2014/main" id="{48DE5DDD-D415-4F19-8C82-795E874E00B1}"/>
              </a:ext>
            </a:extLst>
          </p:cNvPr>
          <p:cNvGrpSpPr/>
          <p:nvPr/>
        </p:nvGrpSpPr>
        <p:grpSpPr>
          <a:xfrm>
            <a:off x="290906" y="3311334"/>
            <a:ext cx="2413978" cy="2317109"/>
            <a:chOff x="4579392" y="2552999"/>
            <a:chExt cx="2485420" cy="3198386"/>
          </a:xfrm>
        </p:grpSpPr>
        <p:sp>
          <p:nvSpPr>
            <p:cNvPr id="26" name="Text Placeholder 2">
              <a:extLst>
                <a:ext uri="{FF2B5EF4-FFF2-40B4-BE49-F238E27FC236}">
                  <a16:creationId xmlns:a16="http://schemas.microsoft.com/office/drawing/2014/main" id="{6DC7C6D1-BD3A-4847-B3BF-F298089439F6}"/>
                </a:ext>
              </a:extLst>
            </p:cNvPr>
            <p:cNvSpPr txBox="1">
              <a:spLocks/>
            </p:cNvSpPr>
            <p:nvPr/>
          </p:nvSpPr>
          <p:spPr>
            <a:xfrm>
              <a:off x="4579392" y="3166080"/>
              <a:ext cx="2485420" cy="2585305"/>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nSpc>
                  <a:spcPct val="100000"/>
                </a:lnSpc>
              </a:pPr>
              <a:r>
                <a:rPr lang="en-US" sz="2000" dirty="0">
                  <a:solidFill>
                    <a:schemeClr val="bg1"/>
                  </a:solidFill>
                  <a:latin typeface="Segoe UI Light" panose="020B0502040204020203" pitchFamily="34" charset="0"/>
                  <a:cs typeface="Segoe UI Light" panose="020B0502040204020203" pitchFamily="34" charset="0"/>
                </a:rPr>
                <a:t>11840 open restaurants</a:t>
              </a:r>
            </a:p>
            <a:p>
              <a:pPr>
                <a:lnSpc>
                  <a:spcPct val="100000"/>
                </a:lnSpc>
              </a:pPr>
              <a:r>
                <a:rPr lang="en-US" sz="2000" dirty="0">
                  <a:solidFill>
                    <a:schemeClr val="bg1"/>
                  </a:solidFill>
                  <a:latin typeface="Segoe UI Light" panose="020B0502040204020203" pitchFamily="34" charset="0"/>
                  <a:cs typeface="Segoe UI Light" panose="020B0502040204020203" pitchFamily="34" charset="0"/>
                </a:rPr>
                <a:t>Sunday is the day of the week  with more reviews</a:t>
              </a:r>
              <a:endParaRPr lang="id-ID" sz="2000" dirty="0">
                <a:solidFill>
                  <a:schemeClr val="bg1"/>
                </a:solidFill>
                <a:latin typeface="Segoe UI Light" panose="020B0502040204020203" pitchFamily="34" charset="0"/>
                <a:cs typeface="Segoe UI Light" panose="020B0502040204020203" pitchFamily="34" charset="0"/>
              </a:endParaRPr>
            </a:p>
            <a:p>
              <a:pPr>
                <a:lnSpc>
                  <a:spcPct val="100000"/>
                </a:lnSpc>
              </a:pP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27" name="Rectangle 26">
              <a:extLst>
                <a:ext uri="{FF2B5EF4-FFF2-40B4-BE49-F238E27FC236}">
                  <a16:creationId xmlns:a16="http://schemas.microsoft.com/office/drawing/2014/main" id="{7C6DAF56-8D5B-4EBC-901F-E753AA70FE80}"/>
                </a:ext>
              </a:extLst>
            </p:cNvPr>
            <p:cNvSpPr/>
            <p:nvPr/>
          </p:nvSpPr>
          <p:spPr>
            <a:xfrm>
              <a:off x="5490925" y="2552999"/>
              <a:ext cx="1210150" cy="30777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grpSp>
      <p:grpSp>
        <p:nvGrpSpPr>
          <p:cNvPr id="48" name="Group 47">
            <a:extLst>
              <a:ext uri="{FF2B5EF4-FFF2-40B4-BE49-F238E27FC236}">
                <a16:creationId xmlns:a16="http://schemas.microsoft.com/office/drawing/2014/main" id="{15B2E8BB-3582-4D4B-A72E-DB1AA8821788}"/>
              </a:ext>
            </a:extLst>
          </p:cNvPr>
          <p:cNvGrpSpPr/>
          <p:nvPr/>
        </p:nvGrpSpPr>
        <p:grpSpPr>
          <a:xfrm>
            <a:off x="9726065" y="3887778"/>
            <a:ext cx="5290986" cy="2363673"/>
            <a:chOff x="1253502" y="2552999"/>
            <a:chExt cx="5447573" cy="1164634"/>
          </a:xfrm>
          <a:solidFill>
            <a:srgbClr val="C00000"/>
          </a:solidFill>
        </p:grpSpPr>
        <p:sp>
          <p:nvSpPr>
            <p:cNvPr id="49" name="Text Placeholder 2">
              <a:extLst>
                <a:ext uri="{FF2B5EF4-FFF2-40B4-BE49-F238E27FC236}">
                  <a16:creationId xmlns:a16="http://schemas.microsoft.com/office/drawing/2014/main" id="{73F1813C-7778-4D07-A45A-F3853111423E}"/>
                </a:ext>
              </a:extLst>
            </p:cNvPr>
            <p:cNvSpPr txBox="1">
              <a:spLocks/>
            </p:cNvSpPr>
            <p:nvPr/>
          </p:nvSpPr>
          <p:spPr>
            <a:xfrm>
              <a:off x="1253502" y="2922014"/>
              <a:ext cx="2566934" cy="795619"/>
            </a:xfrm>
            <a:prstGeom prst="rect">
              <a:avLst/>
            </a:prstGeom>
            <a:grp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nSpc>
                  <a:spcPct val="100000"/>
                </a:lnSpc>
              </a:pPr>
              <a:r>
                <a:rPr lang="en-US" sz="2000" dirty="0">
                  <a:solidFill>
                    <a:schemeClr val="bg1"/>
                  </a:solidFill>
                  <a:latin typeface="Segoe UI Light" panose="020B0502040204020203" pitchFamily="34" charset="0"/>
                  <a:cs typeface="Segoe UI Light" panose="020B0502040204020203" pitchFamily="34" charset="0"/>
                </a:rPr>
                <a:t>Arizona state has more restaurants and Las Vegas is the city with more restaurants</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50" name="Rectangle 49">
              <a:extLst>
                <a:ext uri="{FF2B5EF4-FFF2-40B4-BE49-F238E27FC236}">
                  <a16:creationId xmlns:a16="http://schemas.microsoft.com/office/drawing/2014/main" id="{88139260-AF06-4A13-9AEB-0C3D6AE54501}"/>
                </a:ext>
              </a:extLst>
            </p:cNvPr>
            <p:cNvSpPr/>
            <p:nvPr/>
          </p:nvSpPr>
          <p:spPr>
            <a:xfrm>
              <a:off x="5490925" y="2552999"/>
              <a:ext cx="1210150" cy="307777"/>
            </a:xfrm>
            <a:prstGeom prst="rect">
              <a:avLst/>
            </a:prstGeom>
            <a:grpFill/>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grpSp>
      <p:pic>
        <p:nvPicPr>
          <p:cNvPr id="3" name="Picture 2" descr="A screenshot of a cell phone&#10;&#10;Description automatically generated">
            <a:extLst>
              <a:ext uri="{FF2B5EF4-FFF2-40B4-BE49-F238E27FC236}">
                <a16:creationId xmlns:a16="http://schemas.microsoft.com/office/drawing/2014/main" id="{181232FC-975F-4894-8E26-360EFF3C58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4206" y="1573943"/>
            <a:ext cx="4940259" cy="2142341"/>
          </a:xfrm>
          <a:prstGeom prst="rect">
            <a:avLst/>
          </a:prstGeom>
        </p:spPr>
      </p:pic>
    </p:spTree>
    <p:extLst>
      <p:ext uri="{BB962C8B-B14F-4D97-AF65-F5344CB8AC3E}">
        <p14:creationId xmlns:p14="http://schemas.microsoft.com/office/powerpoint/2010/main" val="242278089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0-#ppt_w/2"/>
                                          </p:val>
                                        </p:tav>
                                        <p:tav tm="100000">
                                          <p:val>
                                            <p:strVal val="#ppt_x"/>
                                          </p:val>
                                        </p:tav>
                                      </p:tavLst>
                                    </p:anim>
                                    <p:anim calcmode="lin" valueType="num">
                                      <p:cBhvr additive="base">
                                        <p:cTn id="8" dur="1000" fill="hold"/>
                                        <p:tgtEl>
                                          <p:spTgt spid="51"/>
                                        </p:tgtEl>
                                        <p:attrNameLst>
                                          <p:attrName>ppt_y</p:attrName>
                                        </p:attrNameLst>
                                      </p:cBhvr>
                                      <p:tavLst>
                                        <p:tav tm="0">
                                          <p:val>
                                            <p:strVal val="#ppt_y"/>
                                          </p:val>
                                        </p:tav>
                                        <p:tav tm="100000">
                                          <p:val>
                                            <p:strVal val="#ppt_y"/>
                                          </p:val>
                                        </p:tav>
                                      </p:tavLst>
                                    </p:anim>
                                  </p:childTnLst>
                                </p:cTn>
                              </p:par>
                              <p:par>
                                <p:cTn id="9" presetID="42" presetClass="entr" presetSubtype="0" fill="hold" nodeType="with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1000"/>
                                        <p:tgtEl>
                                          <p:spTgt spid="29"/>
                                        </p:tgtEl>
                                      </p:cBhvr>
                                    </p:animEffect>
                                    <p:anim calcmode="lin" valueType="num">
                                      <p:cBhvr>
                                        <p:cTn id="12" dur="1000" fill="hold"/>
                                        <p:tgtEl>
                                          <p:spTgt spid="29"/>
                                        </p:tgtEl>
                                        <p:attrNameLst>
                                          <p:attrName>ppt_x</p:attrName>
                                        </p:attrNameLst>
                                      </p:cBhvr>
                                      <p:tavLst>
                                        <p:tav tm="0">
                                          <p:val>
                                            <p:strVal val="#ppt_x"/>
                                          </p:val>
                                        </p:tav>
                                        <p:tav tm="100000">
                                          <p:val>
                                            <p:strVal val="#ppt_x"/>
                                          </p:val>
                                        </p:tav>
                                      </p:tavLst>
                                    </p:anim>
                                    <p:anim calcmode="lin" valueType="num">
                                      <p:cBhvr>
                                        <p:cTn id="13" dur="1000" fill="hold"/>
                                        <p:tgtEl>
                                          <p:spTgt spid="29"/>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50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1000"/>
                                        <p:tgtEl>
                                          <p:spTgt spid="48"/>
                                        </p:tgtEl>
                                      </p:cBhvr>
                                    </p:animEffect>
                                    <p:anim calcmode="lin" valueType="num">
                                      <p:cBhvr>
                                        <p:cTn id="17" dur="1000" fill="hold"/>
                                        <p:tgtEl>
                                          <p:spTgt spid="48"/>
                                        </p:tgtEl>
                                        <p:attrNameLst>
                                          <p:attrName>ppt_x</p:attrName>
                                        </p:attrNameLst>
                                      </p:cBhvr>
                                      <p:tavLst>
                                        <p:tav tm="0">
                                          <p:val>
                                            <p:strVal val="#ppt_x"/>
                                          </p:val>
                                        </p:tav>
                                        <p:tav tm="100000">
                                          <p:val>
                                            <p:strVal val="#ppt_x"/>
                                          </p:val>
                                        </p:tav>
                                      </p:tavLst>
                                    </p:anim>
                                    <p:anim calcmode="lin" valueType="num">
                                      <p:cBhvr>
                                        <p:cTn id="18"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7F520C-FE4C-4D24-9388-390044007A51}"/>
              </a:ext>
            </a:extLst>
          </p:cNvPr>
          <p:cNvPicPr>
            <a:picLocks noChangeAspect="1"/>
          </p:cNvPicPr>
          <p:nvPr/>
        </p:nvPicPr>
        <p:blipFill>
          <a:blip r:embed="rId3"/>
          <a:stretch>
            <a:fillRect/>
          </a:stretch>
        </p:blipFill>
        <p:spPr>
          <a:xfrm>
            <a:off x="5214733" y="907992"/>
            <a:ext cx="7077290" cy="4219154"/>
          </a:xfrm>
          <a:prstGeom prst="rect">
            <a:avLst/>
          </a:prstGeom>
        </p:spPr>
      </p:pic>
      <p:pic>
        <p:nvPicPr>
          <p:cNvPr id="22" name="Picture 21">
            <a:extLst>
              <a:ext uri="{FF2B5EF4-FFF2-40B4-BE49-F238E27FC236}">
                <a16:creationId xmlns:a16="http://schemas.microsoft.com/office/drawing/2014/main" id="{3F00C6FE-A87B-4E74-8855-3D6A2824F8B0}"/>
              </a:ext>
            </a:extLst>
          </p:cNvPr>
          <p:cNvPicPr>
            <a:picLocks noChangeAspect="1"/>
          </p:cNvPicPr>
          <p:nvPr/>
        </p:nvPicPr>
        <p:blipFill>
          <a:blip r:embed="rId4"/>
          <a:stretch>
            <a:fillRect/>
          </a:stretch>
        </p:blipFill>
        <p:spPr>
          <a:xfrm>
            <a:off x="-65829" y="4403831"/>
            <a:ext cx="6138868" cy="2542948"/>
          </a:xfrm>
          <a:prstGeom prst="rect">
            <a:avLst/>
          </a:prstGeom>
        </p:spPr>
      </p:pic>
      <p:sp>
        <p:nvSpPr>
          <p:cNvPr id="51" name="Title 7">
            <a:extLst>
              <a:ext uri="{FF2B5EF4-FFF2-40B4-BE49-F238E27FC236}">
                <a16:creationId xmlns:a16="http://schemas.microsoft.com/office/drawing/2014/main" id="{C1725B10-E1B6-48D2-A1F5-2895B57B1DB6}"/>
              </a:ext>
            </a:extLst>
          </p:cNvPr>
          <p:cNvSpPr txBox="1">
            <a:spLocks/>
          </p:cNvSpPr>
          <p:nvPr/>
        </p:nvSpPr>
        <p:spPr>
          <a:xfrm>
            <a:off x="5078629" y="405116"/>
            <a:ext cx="5825886"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Exploratory Analysis</a:t>
            </a:r>
            <a:endParaRPr lang="id-ID" sz="4000" spc="0" dirty="0">
              <a:latin typeface="Aller" panose="020B0503030302020204" pitchFamily="34" charset="0"/>
            </a:endParaRPr>
          </a:p>
        </p:txBody>
      </p:sp>
      <p:pic>
        <p:nvPicPr>
          <p:cNvPr id="6" name="Picture Placeholder 5" descr="A close up of a building&#10;&#10;Description automatically generated">
            <a:extLst>
              <a:ext uri="{FF2B5EF4-FFF2-40B4-BE49-F238E27FC236}">
                <a16:creationId xmlns:a16="http://schemas.microsoft.com/office/drawing/2014/main" id="{584ABEF2-9B04-4DFD-9B13-4AF131E0B9A1}"/>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t="24845" b="24845"/>
          <a:stretch>
            <a:fillRect/>
          </a:stretch>
        </p:blipFill>
        <p:spPr>
          <a:xfrm>
            <a:off x="-2086357" y="-1555410"/>
            <a:ext cx="8688597" cy="2914630"/>
          </a:xfrm>
        </p:spPr>
      </p:pic>
      <p:grpSp>
        <p:nvGrpSpPr>
          <p:cNvPr id="48" name="Group 47">
            <a:extLst>
              <a:ext uri="{FF2B5EF4-FFF2-40B4-BE49-F238E27FC236}">
                <a16:creationId xmlns:a16="http://schemas.microsoft.com/office/drawing/2014/main" id="{15B2E8BB-3582-4D4B-A72E-DB1AA8821788}"/>
              </a:ext>
            </a:extLst>
          </p:cNvPr>
          <p:cNvGrpSpPr/>
          <p:nvPr/>
        </p:nvGrpSpPr>
        <p:grpSpPr>
          <a:xfrm>
            <a:off x="6720397" y="4129160"/>
            <a:ext cx="8095949" cy="1983623"/>
            <a:chOff x="-1634474" y="2552999"/>
            <a:chExt cx="8335549" cy="977375"/>
          </a:xfrm>
          <a:solidFill>
            <a:srgbClr val="C00000"/>
          </a:solidFill>
        </p:grpSpPr>
        <p:sp>
          <p:nvSpPr>
            <p:cNvPr id="49" name="Text Placeholder 2">
              <a:extLst>
                <a:ext uri="{FF2B5EF4-FFF2-40B4-BE49-F238E27FC236}">
                  <a16:creationId xmlns:a16="http://schemas.microsoft.com/office/drawing/2014/main" id="{73F1813C-7778-4D07-A45A-F3853111423E}"/>
                </a:ext>
              </a:extLst>
            </p:cNvPr>
            <p:cNvSpPr txBox="1">
              <a:spLocks/>
            </p:cNvSpPr>
            <p:nvPr/>
          </p:nvSpPr>
          <p:spPr>
            <a:xfrm>
              <a:off x="-1634474" y="3139729"/>
              <a:ext cx="5118625" cy="390645"/>
            </a:xfrm>
            <a:prstGeom prst="rect">
              <a:avLst/>
            </a:prstGeom>
            <a:grp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Most restaurants in the dataset are American cuisine followed by Italian and Mexican food</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50" name="Rectangle 49">
              <a:extLst>
                <a:ext uri="{FF2B5EF4-FFF2-40B4-BE49-F238E27FC236}">
                  <a16:creationId xmlns:a16="http://schemas.microsoft.com/office/drawing/2014/main" id="{88139260-AF06-4A13-9AEB-0C3D6AE54501}"/>
                </a:ext>
              </a:extLst>
            </p:cNvPr>
            <p:cNvSpPr/>
            <p:nvPr/>
          </p:nvSpPr>
          <p:spPr>
            <a:xfrm>
              <a:off x="5490925" y="2552999"/>
              <a:ext cx="1210150" cy="151649"/>
            </a:xfrm>
            <a:prstGeom prst="rect">
              <a:avLst/>
            </a:prstGeom>
            <a:grpFill/>
          </p:spPr>
          <p:txBody>
            <a:bodyPr wrap="square">
              <a:spAutoFit/>
            </a:bodyPr>
            <a:lstStyle/>
            <a:p>
              <a:pPr algn="ctr">
                <a:lnSpc>
                  <a:spcPct val="100000"/>
                </a:lnSpc>
              </a:pPr>
              <a:endParaRPr lang="en-US" sz="1400" dirty="0">
                <a:solidFill>
                  <a:schemeClr val="tx1">
                    <a:lumMod val="65000"/>
                    <a:lumOff val="35000"/>
                  </a:schemeClr>
                </a:solidFill>
                <a:latin typeface="Segoe UI Light" panose="020B0502040204020203" pitchFamily="34" charset="0"/>
                <a:cs typeface="Segoe UI Light" panose="020B0502040204020203" pitchFamily="34" charset="0"/>
              </a:endParaRPr>
            </a:p>
          </p:txBody>
        </p:sp>
      </p:grpSp>
      <p:pic>
        <p:nvPicPr>
          <p:cNvPr id="18" name="Picture 17">
            <a:extLst>
              <a:ext uri="{FF2B5EF4-FFF2-40B4-BE49-F238E27FC236}">
                <a16:creationId xmlns:a16="http://schemas.microsoft.com/office/drawing/2014/main" id="{5A9829BB-FBA3-4820-B0FD-17B249E00E37}"/>
              </a:ext>
            </a:extLst>
          </p:cNvPr>
          <p:cNvPicPr>
            <a:picLocks noChangeAspect="1"/>
          </p:cNvPicPr>
          <p:nvPr/>
        </p:nvPicPr>
        <p:blipFill>
          <a:blip r:embed="rId6"/>
          <a:stretch>
            <a:fillRect/>
          </a:stretch>
        </p:blipFill>
        <p:spPr>
          <a:xfrm>
            <a:off x="8554630" y="2130369"/>
            <a:ext cx="2740494" cy="1902766"/>
          </a:xfrm>
          <a:prstGeom prst="rect">
            <a:avLst/>
          </a:prstGeom>
        </p:spPr>
      </p:pic>
      <p:sp>
        <p:nvSpPr>
          <p:cNvPr id="20" name="Text Placeholder 2">
            <a:extLst>
              <a:ext uri="{FF2B5EF4-FFF2-40B4-BE49-F238E27FC236}">
                <a16:creationId xmlns:a16="http://schemas.microsoft.com/office/drawing/2014/main" id="{4D18190A-F441-48DC-8C8D-940B39F0D4C3}"/>
              </a:ext>
            </a:extLst>
          </p:cNvPr>
          <p:cNvSpPr txBox="1">
            <a:spLocks/>
          </p:cNvSpPr>
          <p:nvPr/>
        </p:nvSpPr>
        <p:spPr>
          <a:xfrm>
            <a:off x="2876362" y="4865092"/>
            <a:ext cx="2714058" cy="1109580"/>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McDonald’s is the least appreciated restaurant in terms of stars</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21" name="Text Placeholder 2">
            <a:extLst>
              <a:ext uri="{FF2B5EF4-FFF2-40B4-BE49-F238E27FC236}">
                <a16:creationId xmlns:a16="http://schemas.microsoft.com/office/drawing/2014/main" id="{A45CB951-44C7-40A9-950D-E8CD982C5141}"/>
              </a:ext>
            </a:extLst>
          </p:cNvPr>
          <p:cNvSpPr txBox="1">
            <a:spLocks/>
          </p:cNvSpPr>
          <p:nvPr/>
        </p:nvSpPr>
        <p:spPr>
          <a:xfrm>
            <a:off x="146484" y="1946832"/>
            <a:ext cx="1914228" cy="1982435"/>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People tend to rate restaurants if they like them a lot or if they want to share dissatisfaction</a:t>
            </a:r>
            <a:endParaRPr lang="id-ID" sz="2000" dirty="0">
              <a:solidFill>
                <a:schemeClr val="bg1"/>
              </a:solidFill>
              <a:latin typeface="Segoe UI Light" panose="020B0502040204020203" pitchFamily="34" charset="0"/>
              <a:cs typeface="Segoe UI Light" panose="020B0502040204020203" pitchFamily="34" charset="0"/>
            </a:endParaRPr>
          </a:p>
        </p:txBody>
      </p:sp>
      <p:pic>
        <p:nvPicPr>
          <p:cNvPr id="4" name="Picture 3" descr="A screenshot of a cell phone&#10;&#10;Description automatically generated">
            <a:extLst>
              <a:ext uri="{FF2B5EF4-FFF2-40B4-BE49-F238E27FC236}">
                <a16:creationId xmlns:a16="http://schemas.microsoft.com/office/drawing/2014/main" id="{D50BB645-D829-4352-80C9-A65E060AFF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67338" y="1720395"/>
            <a:ext cx="3667789" cy="2565675"/>
          </a:xfrm>
          <a:prstGeom prst="rect">
            <a:avLst/>
          </a:prstGeom>
        </p:spPr>
      </p:pic>
    </p:spTree>
    <p:extLst>
      <p:ext uri="{BB962C8B-B14F-4D97-AF65-F5344CB8AC3E}">
        <p14:creationId xmlns:p14="http://schemas.microsoft.com/office/powerpoint/2010/main" val="171899734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0-#ppt_w/2"/>
                                          </p:val>
                                        </p:tav>
                                        <p:tav tm="100000">
                                          <p:val>
                                            <p:strVal val="#ppt_x"/>
                                          </p:val>
                                        </p:tav>
                                      </p:tavLst>
                                    </p:anim>
                                    <p:anim calcmode="lin" valueType="num">
                                      <p:cBhvr additive="base">
                                        <p:cTn id="8" dur="1000" fill="hold"/>
                                        <p:tgtEl>
                                          <p:spTgt spid="51"/>
                                        </p:tgtEl>
                                        <p:attrNameLst>
                                          <p:attrName>ppt_y</p:attrName>
                                        </p:attrNameLst>
                                      </p:cBhvr>
                                      <p:tavLst>
                                        <p:tav tm="0">
                                          <p:val>
                                            <p:strVal val="#ppt_y"/>
                                          </p:val>
                                        </p:tav>
                                        <p:tav tm="100000">
                                          <p:val>
                                            <p:strVal val="#ppt_y"/>
                                          </p:val>
                                        </p:tav>
                                      </p:tavLst>
                                    </p:anim>
                                  </p:childTnLst>
                                </p:cTn>
                              </p:par>
                              <p:par>
                                <p:cTn id="9" presetID="42" presetClass="entr" presetSubtype="0" fill="hold" nodeType="withEffect">
                                  <p:stCondLst>
                                    <p:cond delay="50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1000"/>
                                        <p:tgtEl>
                                          <p:spTgt spid="48"/>
                                        </p:tgtEl>
                                      </p:cBhvr>
                                    </p:animEffect>
                                    <p:anim calcmode="lin" valueType="num">
                                      <p:cBhvr>
                                        <p:cTn id="12" dur="1000" fill="hold"/>
                                        <p:tgtEl>
                                          <p:spTgt spid="48"/>
                                        </p:tgtEl>
                                        <p:attrNameLst>
                                          <p:attrName>ppt_x</p:attrName>
                                        </p:attrNameLst>
                                      </p:cBhvr>
                                      <p:tavLst>
                                        <p:tav tm="0">
                                          <p:val>
                                            <p:strVal val="#ppt_x"/>
                                          </p:val>
                                        </p:tav>
                                        <p:tav tm="100000">
                                          <p:val>
                                            <p:strVal val="#ppt_x"/>
                                          </p:val>
                                        </p:tav>
                                      </p:tavLst>
                                    </p:anim>
                                    <p:anim calcmode="lin" valueType="num">
                                      <p:cBhvr>
                                        <p:cTn id="1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56CAB11-3533-4FA3-9218-14301C4950C1}"/>
              </a:ext>
            </a:extLst>
          </p:cNvPr>
          <p:cNvPicPr>
            <a:picLocks noChangeAspect="1"/>
          </p:cNvPicPr>
          <p:nvPr/>
        </p:nvPicPr>
        <p:blipFill>
          <a:blip r:embed="rId3"/>
          <a:stretch>
            <a:fillRect/>
          </a:stretch>
        </p:blipFill>
        <p:spPr>
          <a:xfrm>
            <a:off x="182860" y="4181207"/>
            <a:ext cx="5123597" cy="2487390"/>
          </a:xfrm>
          <a:prstGeom prst="rect">
            <a:avLst/>
          </a:prstGeom>
        </p:spPr>
      </p:pic>
      <p:pic>
        <p:nvPicPr>
          <p:cNvPr id="12" name="Picture 11">
            <a:extLst>
              <a:ext uri="{FF2B5EF4-FFF2-40B4-BE49-F238E27FC236}">
                <a16:creationId xmlns:a16="http://schemas.microsoft.com/office/drawing/2014/main" id="{C5EE5DD3-BAA3-4050-B179-CE740255CAAF}"/>
              </a:ext>
            </a:extLst>
          </p:cNvPr>
          <p:cNvPicPr>
            <a:picLocks noChangeAspect="1"/>
          </p:cNvPicPr>
          <p:nvPr/>
        </p:nvPicPr>
        <p:blipFill>
          <a:blip r:embed="rId4"/>
          <a:stretch>
            <a:fillRect/>
          </a:stretch>
        </p:blipFill>
        <p:spPr>
          <a:xfrm>
            <a:off x="5240196" y="4070052"/>
            <a:ext cx="6703186" cy="2123457"/>
          </a:xfrm>
          <a:prstGeom prst="rect">
            <a:avLst/>
          </a:prstGeom>
        </p:spPr>
      </p:pic>
      <p:sp>
        <p:nvSpPr>
          <p:cNvPr id="51" name="Title 7">
            <a:extLst>
              <a:ext uri="{FF2B5EF4-FFF2-40B4-BE49-F238E27FC236}">
                <a16:creationId xmlns:a16="http://schemas.microsoft.com/office/drawing/2014/main" id="{C1725B10-E1B6-48D2-A1F5-2895B57B1DB6}"/>
              </a:ext>
            </a:extLst>
          </p:cNvPr>
          <p:cNvSpPr txBox="1">
            <a:spLocks/>
          </p:cNvSpPr>
          <p:nvPr/>
        </p:nvSpPr>
        <p:spPr>
          <a:xfrm>
            <a:off x="5078629" y="405116"/>
            <a:ext cx="5825886"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Exploratory Analysis</a:t>
            </a:r>
            <a:endParaRPr lang="id-ID" sz="4000" spc="0" dirty="0">
              <a:latin typeface="Aller" panose="020B0503030302020204" pitchFamily="34" charset="0"/>
            </a:endParaRPr>
          </a:p>
        </p:txBody>
      </p:sp>
      <p:grpSp>
        <p:nvGrpSpPr>
          <p:cNvPr id="48" name="Group 47">
            <a:extLst>
              <a:ext uri="{FF2B5EF4-FFF2-40B4-BE49-F238E27FC236}">
                <a16:creationId xmlns:a16="http://schemas.microsoft.com/office/drawing/2014/main" id="{15B2E8BB-3582-4D4B-A72E-DB1AA8821788}"/>
              </a:ext>
            </a:extLst>
          </p:cNvPr>
          <p:cNvGrpSpPr/>
          <p:nvPr/>
        </p:nvGrpSpPr>
        <p:grpSpPr>
          <a:xfrm>
            <a:off x="5510422" y="4552117"/>
            <a:ext cx="11656703" cy="1910143"/>
            <a:chOff x="145304" y="2552999"/>
            <a:chExt cx="6555771" cy="4186319"/>
          </a:xfrm>
          <a:solidFill>
            <a:srgbClr val="C00000"/>
          </a:solidFill>
        </p:grpSpPr>
        <p:sp>
          <p:nvSpPr>
            <p:cNvPr id="49" name="Text Placeholder 2">
              <a:extLst>
                <a:ext uri="{FF2B5EF4-FFF2-40B4-BE49-F238E27FC236}">
                  <a16:creationId xmlns:a16="http://schemas.microsoft.com/office/drawing/2014/main" id="{73F1813C-7778-4D07-A45A-F3853111423E}"/>
                </a:ext>
              </a:extLst>
            </p:cNvPr>
            <p:cNvSpPr txBox="1">
              <a:spLocks/>
            </p:cNvSpPr>
            <p:nvPr/>
          </p:nvSpPr>
          <p:spPr>
            <a:xfrm>
              <a:off x="145304" y="5852135"/>
              <a:ext cx="3553893" cy="887183"/>
            </a:xfrm>
            <a:prstGeom prst="rect">
              <a:avLst/>
            </a:prstGeom>
            <a:grp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  Top 3 restaurants in terms of reviews received over time</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50" name="Rectangle 49">
              <a:extLst>
                <a:ext uri="{FF2B5EF4-FFF2-40B4-BE49-F238E27FC236}">
                  <a16:creationId xmlns:a16="http://schemas.microsoft.com/office/drawing/2014/main" id="{88139260-AF06-4A13-9AEB-0C3D6AE54501}"/>
                </a:ext>
              </a:extLst>
            </p:cNvPr>
            <p:cNvSpPr/>
            <p:nvPr/>
          </p:nvSpPr>
          <p:spPr>
            <a:xfrm>
              <a:off x="5490925" y="2552999"/>
              <a:ext cx="1210150" cy="674532"/>
            </a:xfrm>
            <a:prstGeom prst="rect">
              <a:avLst/>
            </a:prstGeom>
            <a:grpFill/>
          </p:spPr>
          <p:txBody>
            <a:bodyPr wrap="square">
              <a:spAutoFit/>
            </a:bodyPr>
            <a:lstStyle/>
            <a:p>
              <a:pPr algn="ctr">
                <a:lnSpc>
                  <a:spcPct val="100000"/>
                </a:lnSpc>
              </a:pPr>
              <a:endParaRPr lang="en-US" sz="1400" dirty="0">
                <a:solidFill>
                  <a:schemeClr val="tx1">
                    <a:lumMod val="65000"/>
                    <a:lumOff val="35000"/>
                  </a:schemeClr>
                </a:solidFill>
                <a:latin typeface="Segoe UI Light" panose="020B0502040204020203" pitchFamily="34" charset="0"/>
                <a:cs typeface="Segoe UI Light" panose="020B0502040204020203" pitchFamily="34" charset="0"/>
              </a:endParaRPr>
            </a:p>
          </p:txBody>
        </p:sp>
      </p:grpSp>
      <p:pic>
        <p:nvPicPr>
          <p:cNvPr id="30" name="Picture 29">
            <a:extLst>
              <a:ext uri="{FF2B5EF4-FFF2-40B4-BE49-F238E27FC236}">
                <a16:creationId xmlns:a16="http://schemas.microsoft.com/office/drawing/2014/main" id="{AD784BEF-1333-4CBD-9218-2427FAE1FCC4}"/>
              </a:ext>
            </a:extLst>
          </p:cNvPr>
          <p:cNvPicPr>
            <a:picLocks noChangeAspect="1"/>
          </p:cNvPicPr>
          <p:nvPr/>
        </p:nvPicPr>
        <p:blipFill>
          <a:blip r:embed="rId5"/>
          <a:stretch>
            <a:fillRect/>
          </a:stretch>
        </p:blipFill>
        <p:spPr>
          <a:xfrm>
            <a:off x="338198" y="1750238"/>
            <a:ext cx="3729727" cy="2419837"/>
          </a:xfrm>
          <a:prstGeom prst="rect">
            <a:avLst/>
          </a:prstGeom>
        </p:spPr>
      </p:pic>
      <p:grpSp>
        <p:nvGrpSpPr>
          <p:cNvPr id="32" name="Group 31">
            <a:extLst>
              <a:ext uri="{FF2B5EF4-FFF2-40B4-BE49-F238E27FC236}">
                <a16:creationId xmlns:a16="http://schemas.microsoft.com/office/drawing/2014/main" id="{B5DA2E45-C11B-4E11-9828-2F4024E81C2A}"/>
              </a:ext>
            </a:extLst>
          </p:cNvPr>
          <p:cNvGrpSpPr/>
          <p:nvPr/>
        </p:nvGrpSpPr>
        <p:grpSpPr>
          <a:xfrm>
            <a:off x="4518992" y="1084624"/>
            <a:ext cx="10475838" cy="936520"/>
            <a:chOff x="1280819" y="1704181"/>
            <a:chExt cx="5420256" cy="1264325"/>
          </a:xfrm>
          <a:solidFill>
            <a:srgbClr val="C00000"/>
          </a:solidFill>
        </p:grpSpPr>
        <p:sp>
          <p:nvSpPr>
            <p:cNvPr id="33" name="Text Placeholder 2">
              <a:extLst>
                <a:ext uri="{FF2B5EF4-FFF2-40B4-BE49-F238E27FC236}">
                  <a16:creationId xmlns:a16="http://schemas.microsoft.com/office/drawing/2014/main" id="{B7EF8A80-B9BB-4FFD-B7FC-B8EA59B66EEE}"/>
                </a:ext>
              </a:extLst>
            </p:cNvPr>
            <p:cNvSpPr txBox="1">
              <a:spLocks/>
            </p:cNvSpPr>
            <p:nvPr/>
          </p:nvSpPr>
          <p:spPr>
            <a:xfrm>
              <a:off x="1280819" y="1704181"/>
              <a:ext cx="3870633" cy="715716"/>
            </a:xfrm>
            <a:prstGeom prst="rect">
              <a:avLst/>
            </a:prstGeom>
            <a:grp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Restaurants with 5*s tend to get shorter reviews compare to other *s</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34" name="Rectangle 33">
              <a:extLst>
                <a:ext uri="{FF2B5EF4-FFF2-40B4-BE49-F238E27FC236}">
                  <a16:creationId xmlns:a16="http://schemas.microsoft.com/office/drawing/2014/main" id="{476EF609-2AEE-4864-9934-73E9A3C8D754}"/>
                </a:ext>
              </a:extLst>
            </p:cNvPr>
            <p:cNvSpPr/>
            <p:nvPr/>
          </p:nvSpPr>
          <p:spPr>
            <a:xfrm>
              <a:off x="5490925" y="2552999"/>
              <a:ext cx="1210150" cy="415507"/>
            </a:xfrm>
            <a:prstGeom prst="rect">
              <a:avLst/>
            </a:prstGeom>
            <a:grpFill/>
          </p:spPr>
          <p:txBody>
            <a:bodyPr wrap="square">
              <a:spAutoFit/>
            </a:bodyPr>
            <a:lstStyle/>
            <a:p>
              <a:pPr algn="ctr">
                <a:lnSpc>
                  <a:spcPct val="100000"/>
                </a:lnSpc>
              </a:pPr>
              <a:endParaRPr lang="en-US" sz="1400" dirty="0">
                <a:solidFill>
                  <a:schemeClr val="tx1">
                    <a:lumMod val="65000"/>
                    <a:lumOff val="35000"/>
                  </a:schemeClr>
                </a:solidFill>
                <a:latin typeface="Segoe UI Light" panose="020B0502040204020203" pitchFamily="34" charset="0"/>
                <a:cs typeface="Segoe UI Light" panose="020B0502040204020203" pitchFamily="34" charset="0"/>
              </a:endParaRPr>
            </a:p>
          </p:txBody>
        </p:sp>
      </p:grpSp>
      <p:pic>
        <p:nvPicPr>
          <p:cNvPr id="3" name="Picture 2" descr="A close up of a map&#10;&#10;Description automatically generated">
            <a:extLst>
              <a:ext uri="{FF2B5EF4-FFF2-40B4-BE49-F238E27FC236}">
                <a16:creationId xmlns:a16="http://schemas.microsoft.com/office/drawing/2014/main" id="{41EE5F2D-1A46-440D-869F-4507FCB582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88779" y="1605348"/>
            <a:ext cx="7277235" cy="1593344"/>
          </a:xfrm>
          <a:prstGeom prst="rect">
            <a:avLst/>
          </a:prstGeom>
        </p:spPr>
      </p:pic>
      <p:sp>
        <p:nvSpPr>
          <p:cNvPr id="31" name="Text Placeholder 2">
            <a:extLst>
              <a:ext uri="{FF2B5EF4-FFF2-40B4-BE49-F238E27FC236}">
                <a16:creationId xmlns:a16="http://schemas.microsoft.com/office/drawing/2014/main" id="{2FC93927-025A-4800-BEB4-34E1DC3A0B19}"/>
              </a:ext>
            </a:extLst>
          </p:cNvPr>
          <p:cNvSpPr txBox="1">
            <a:spLocks/>
          </p:cNvSpPr>
          <p:nvPr/>
        </p:nvSpPr>
        <p:spPr>
          <a:xfrm>
            <a:off x="4140812" y="3351258"/>
            <a:ext cx="5480266" cy="455073"/>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Stefany has posted the largest number of reviews  </a:t>
            </a:r>
            <a:endParaRPr lang="id-ID" sz="2000" dirty="0">
              <a:solidFill>
                <a:schemeClr val="bg1"/>
              </a:solidFill>
              <a:latin typeface="Segoe UI Light" panose="020B0502040204020203" pitchFamily="34" charset="0"/>
              <a:cs typeface="Segoe UI Light" panose="020B0502040204020203" pitchFamily="34" charset="0"/>
            </a:endParaRPr>
          </a:p>
        </p:txBody>
      </p:sp>
      <p:pic>
        <p:nvPicPr>
          <p:cNvPr id="19" name="Picture Placeholder 5" descr="A close up of a building&#10;&#10;Description automatically generated">
            <a:extLst>
              <a:ext uri="{FF2B5EF4-FFF2-40B4-BE49-F238E27FC236}">
                <a16:creationId xmlns:a16="http://schemas.microsoft.com/office/drawing/2014/main" id="{55535D36-0F82-4C3F-B208-21E8789AF59D}"/>
              </a:ext>
            </a:extLst>
          </p:cNvPr>
          <p:cNvPicPr>
            <a:picLocks noChangeAspect="1"/>
          </p:cNvPicPr>
          <p:nvPr/>
        </p:nvPicPr>
        <p:blipFill>
          <a:blip r:embed="rId7">
            <a:extLst>
              <a:ext uri="{28A0092B-C50C-407E-A947-70E740481C1C}">
                <a14:useLocalDpi xmlns:a14="http://schemas.microsoft.com/office/drawing/2010/main" val="0"/>
              </a:ext>
            </a:extLst>
          </a:blip>
          <a:srcRect t="24845" b="24845"/>
          <a:stretch>
            <a:fillRect/>
          </a:stretch>
        </p:blipFill>
        <p:spPr>
          <a:xfrm>
            <a:off x="-2086357" y="-1555410"/>
            <a:ext cx="8688597" cy="2914630"/>
          </a:xfrm>
          <a:custGeom>
            <a:avLst/>
            <a:gdLst>
              <a:gd name="connsiteX0" fmla="*/ 2561562 w 7636091"/>
              <a:gd name="connsiteY0" fmla="*/ 0 h 2561562"/>
              <a:gd name="connsiteX1" fmla="*/ 3078789 w 7636091"/>
              <a:gd name="connsiteY1" fmla="*/ 0 h 2561562"/>
              <a:gd name="connsiteX2" fmla="*/ 3162414 w 7636091"/>
              <a:gd name="connsiteY2" fmla="*/ 0 h 2561562"/>
              <a:gd name="connsiteX3" fmla="*/ 4596840 w 7636091"/>
              <a:gd name="connsiteY3" fmla="*/ 0 h 2561562"/>
              <a:gd name="connsiteX4" fmla="*/ 5114067 w 7636091"/>
              <a:gd name="connsiteY4" fmla="*/ 0 h 2561562"/>
              <a:gd name="connsiteX5" fmla="*/ 5197692 w 7636091"/>
              <a:gd name="connsiteY5" fmla="*/ 0 h 2561562"/>
              <a:gd name="connsiteX6" fmla="*/ 5600813 w 7636091"/>
              <a:gd name="connsiteY6" fmla="*/ 0 h 2561562"/>
              <a:gd name="connsiteX7" fmla="*/ 7636091 w 7636091"/>
              <a:gd name="connsiteY7" fmla="*/ 0 h 2561562"/>
              <a:gd name="connsiteX8" fmla="*/ 5074529 w 7636091"/>
              <a:gd name="connsiteY8" fmla="*/ 2561562 h 2561562"/>
              <a:gd name="connsiteX9" fmla="*/ 4557302 w 7636091"/>
              <a:gd name="connsiteY9" fmla="*/ 2561562 h 2561562"/>
              <a:gd name="connsiteX10" fmla="*/ 4473677 w 7636091"/>
              <a:gd name="connsiteY10" fmla="*/ 2561562 h 2561562"/>
              <a:gd name="connsiteX11" fmla="*/ 3039251 w 7636091"/>
              <a:gd name="connsiteY11" fmla="*/ 2561562 h 2561562"/>
              <a:gd name="connsiteX12" fmla="*/ 2522024 w 7636091"/>
              <a:gd name="connsiteY12" fmla="*/ 2561562 h 2561562"/>
              <a:gd name="connsiteX13" fmla="*/ 2438399 w 7636091"/>
              <a:gd name="connsiteY13" fmla="*/ 2561562 h 2561562"/>
              <a:gd name="connsiteX14" fmla="*/ 2035278 w 7636091"/>
              <a:gd name="connsiteY14" fmla="*/ 2561562 h 2561562"/>
              <a:gd name="connsiteX15" fmla="*/ 0 w 7636091"/>
              <a:gd name="connsiteY15" fmla="*/ 2561562 h 25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36091" h="2561562">
                <a:moveTo>
                  <a:pt x="2561562" y="0"/>
                </a:moveTo>
                <a:lnTo>
                  <a:pt x="3078789" y="0"/>
                </a:lnTo>
                <a:lnTo>
                  <a:pt x="3162414" y="0"/>
                </a:lnTo>
                <a:lnTo>
                  <a:pt x="4596840" y="0"/>
                </a:lnTo>
                <a:lnTo>
                  <a:pt x="5114067" y="0"/>
                </a:lnTo>
                <a:lnTo>
                  <a:pt x="5197692" y="0"/>
                </a:lnTo>
                <a:lnTo>
                  <a:pt x="5600813" y="0"/>
                </a:lnTo>
                <a:lnTo>
                  <a:pt x="7636091" y="0"/>
                </a:lnTo>
                <a:lnTo>
                  <a:pt x="5074529" y="2561562"/>
                </a:lnTo>
                <a:lnTo>
                  <a:pt x="4557302" y="2561562"/>
                </a:lnTo>
                <a:lnTo>
                  <a:pt x="4473677" y="2561562"/>
                </a:lnTo>
                <a:lnTo>
                  <a:pt x="3039251" y="2561562"/>
                </a:lnTo>
                <a:lnTo>
                  <a:pt x="2522024" y="2561562"/>
                </a:lnTo>
                <a:lnTo>
                  <a:pt x="2438399" y="2561562"/>
                </a:lnTo>
                <a:lnTo>
                  <a:pt x="2035278" y="2561562"/>
                </a:lnTo>
                <a:lnTo>
                  <a:pt x="0" y="2561562"/>
                </a:lnTo>
                <a:close/>
              </a:path>
            </a:pathLst>
          </a:custGeom>
          <a:solidFill>
            <a:schemeClr val="bg1">
              <a:lumMod val="95000"/>
            </a:schemeClr>
          </a:solidFill>
          <a:effectLst>
            <a:outerShdw blurRad="635000" dist="1282700" dir="8940000" algn="tr" rotWithShape="0">
              <a:prstClr val="black">
                <a:alpha val="30000"/>
              </a:prstClr>
            </a:outerShdw>
          </a:effectLst>
        </p:spPr>
      </p:pic>
    </p:spTree>
    <p:extLst>
      <p:ext uri="{BB962C8B-B14F-4D97-AF65-F5344CB8AC3E}">
        <p14:creationId xmlns:p14="http://schemas.microsoft.com/office/powerpoint/2010/main" val="29501356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0-#ppt_w/2"/>
                                          </p:val>
                                        </p:tav>
                                        <p:tav tm="100000">
                                          <p:val>
                                            <p:strVal val="#ppt_x"/>
                                          </p:val>
                                        </p:tav>
                                      </p:tavLst>
                                    </p:anim>
                                    <p:anim calcmode="lin" valueType="num">
                                      <p:cBhvr additive="base">
                                        <p:cTn id="8" dur="1000" fill="hold"/>
                                        <p:tgtEl>
                                          <p:spTgt spid="51"/>
                                        </p:tgtEl>
                                        <p:attrNameLst>
                                          <p:attrName>ppt_y</p:attrName>
                                        </p:attrNameLst>
                                      </p:cBhvr>
                                      <p:tavLst>
                                        <p:tav tm="0">
                                          <p:val>
                                            <p:strVal val="#ppt_y"/>
                                          </p:val>
                                        </p:tav>
                                        <p:tav tm="100000">
                                          <p:val>
                                            <p:strVal val="#ppt_y"/>
                                          </p:val>
                                        </p:tav>
                                      </p:tavLst>
                                    </p:anim>
                                  </p:childTnLst>
                                </p:cTn>
                              </p:par>
                              <p:par>
                                <p:cTn id="9" presetID="42" presetClass="entr" presetSubtype="0" fill="hold" nodeType="withEffect">
                                  <p:stCondLst>
                                    <p:cond delay="50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1000"/>
                                        <p:tgtEl>
                                          <p:spTgt spid="48"/>
                                        </p:tgtEl>
                                      </p:cBhvr>
                                    </p:animEffect>
                                    <p:anim calcmode="lin" valueType="num">
                                      <p:cBhvr>
                                        <p:cTn id="12" dur="1000" fill="hold"/>
                                        <p:tgtEl>
                                          <p:spTgt spid="48"/>
                                        </p:tgtEl>
                                        <p:attrNameLst>
                                          <p:attrName>ppt_x</p:attrName>
                                        </p:attrNameLst>
                                      </p:cBhvr>
                                      <p:tavLst>
                                        <p:tav tm="0">
                                          <p:val>
                                            <p:strVal val="#ppt_x"/>
                                          </p:val>
                                        </p:tav>
                                        <p:tav tm="100000">
                                          <p:val>
                                            <p:strVal val="#ppt_x"/>
                                          </p:val>
                                        </p:tav>
                                      </p:tavLst>
                                    </p:anim>
                                    <p:anim calcmode="lin" valueType="num">
                                      <p:cBhvr>
                                        <p:cTn id="13" dur="1000" fill="hold"/>
                                        <p:tgtEl>
                                          <p:spTgt spid="48"/>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50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1000"/>
                                        <p:tgtEl>
                                          <p:spTgt spid="32"/>
                                        </p:tgtEl>
                                      </p:cBhvr>
                                    </p:animEffect>
                                    <p:anim calcmode="lin" valueType="num">
                                      <p:cBhvr>
                                        <p:cTn id="17" dur="1000" fill="hold"/>
                                        <p:tgtEl>
                                          <p:spTgt spid="32"/>
                                        </p:tgtEl>
                                        <p:attrNameLst>
                                          <p:attrName>ppt_x</p:attrName>
                                        </p:attrNameLst>
                                      </p:cBhvr>
                                      <p:tavLst>
                                        <p:tav tm="0">
                                          <p:val>
                                            <p:strVal val="#ppt_x"/>
                                          </p:val>
                                        </p:tav>
                                        <p:tav tm="100000">
                                          <p:val>
                                            <p:strVal val="#ppt_x"/>
                                          </p:val>
                                        </p:tav>
                                      </p:tavLst>
                                    </p:anim>
                                    <p:anim calcmode="lin" valueType="num">
                                      <p:cBhvr>
                                        <p:cTn id="18"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71A784BF-09DB-448D-99FC-B49DFC6605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4" name="Rectangle 33">
            <a:extLst>
              <a:ext uri="{FF2B5EF4-FFF2-40B4-BE49-F238E27FC236}">
                <a16:creationId xmlns:a16="http://schemas.microsoft.com/office/drawing/2014/main" id="{917859B3-4C91-478D-929D-BB6433F90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4416" y="4218905"/>
            <a:ext cx="11167447" cy="2089317"/>
          </a:xfrm>
          <a:prstGeom prst="rect">
            <a:avLst/>
          </a:prstGeom>
          <a:ln w="12700">
            <a:solidFill>
              <a:srgbClr val="EFEFEF"/>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itle 7">
            <a:extLst>
              <a:ext uri="{FF2B5EF4-FFF2-40B4-BE49-F238E27FC236}">
                <a16:creationId xmlns:a16="http://schemas.microsoft.com/office/drawing/2014/main" id="{94F06D61-D40A-43A4-9678-057EE8D43EAE}"/>
              </a:ext>
            </a:extLst>
          </p:cNvPr>
          <p:cNvSpPr txBox="1">
            <a:spLocks/>
          </p:cNvSpPr>
          <p:nvPr/>
        </p:nvSpPr>
        <p:spPr>
          <a:xfrm>
            <a:off x="838200" y="4435052"/>
            <a:ext cx="3093720" cy="16459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pPr algn="ctr"/>
            <a:r>
              <a:rPr lang="en-US" sz="2300" dirty="0" err="1">
                <a:solidFill>
                  <a:schemeClr val="tx1">
                    <a:lumMod val="50000"/>
                    <a:lumOff val="50000"/>
                  </a:schemeClr>
                </a:solidFill>
                <a:latin typeface="Segoe UI Light" panose="020B0502040204020203" pitchFamily="34" charset="0"/>
                <a:cs typeface="Segoe UI Light" panose="020B0502040204020203" pitchFamily="34" charset="0"/>
              </a:rPr>
              <a:t>HashingTF</a:t>
            </a:r>
            <a:r>
              <a:rPr lang="en-US" sz="2300" dirty="0">
                <a:solidFill>
                  <a:schemeClr val="tx1">
                    <a:lumMod val="50000"/>
                    <a:lumOff val="50000"/>
                  </a:schemeClr>
                </a:solidFill>
                <a:latin typeface="Segoe UI Light" panose="020B0502040204020203" pitchFamily="34" charset="0"/>
                <a:cs typeface="Segoe UI Light" panose="020B0502040204020203" pitchFamily="34" charset="0"/>
              </a:rPr>
              <a:t> </a:t>
            </a:r>
          </a:p>
          <a:p>
            <a:pPr algn="ctr"/>
            <a:r>
              <a:rPr lang="en-US" sz="2300" dirty="0">
                <a:solidFill>
                  <a:schemeClr val="tx1">
                    <a:lumMod val="50000"/>
                    <a:lumOff val="50000"/>
                  </a:schemeClr>
                </a:solidFill>
                <a:latin typeface="Segoe UI Light" panose="020B0502040204020203" pitchFamily="34" charset="0"/>
                <a:cs typeface="Segoe UI Light" panose="020B0502040204020203" pitchFamily="34" charset="0"/>
              </a:rPr>
              <a:t>VS </a:t>
            </a:r>
            <a:r>
              <a:rPr lang="en-US" sz="2300" dirty="0" err="1">
                <a:solidFill>
                  <a:schemeClr val="tx1">
                    <a:lumMod val="50000"/>
                    <a:lumOff val="50000"/>
                  </a:schemeClr>
                </a:solidFill>
                <a:latin typeface="Segoe UI Light" panose="020B0502040204020203" pitchFamily="34" charset="0"/>
                <a:cs typeface="Segoe UI Light" panose="020B0502040204020203" pitchFamily="34" charset="0"/>
              </a:rPr>
              <a:t>CountVectorizer</a:t>
            </a:r>
            <a:endParaRPr lang="en-US" sz="23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pic>
        <p:nvPicPr>
          <p:cNvPr id="9" name="Picture Placeholder 8">
            <a:extLst>
              <a:ext uri="{FF2B5EF4-FFF2-40B4-BE49-F238E27FC236}">
                <a16:creationId xmlns:a16="http://schemas.microsoft.com/office/drawing/2014/main" id="{7431924E-BB05-4DED-9183-6D454C9FCFB3}"/>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a:stretch/>
        </p:blipFill>
        <p:spPr>
          <a:xfrm>
            <a:off x="20" y="691897"/>
            <a:ext cx="3931900" cy="2621266"/>
          </a:xfrm>
          <a:prstGeom prst="rect">
            <a:avLst/>
          </a:prstGeom>
        </p:spPr>
      </p:pic>
      <p:sp>
        <p:nvSpPr>
          <p:cNvPr id="36" name="Rectangle 35">
            <a:extLst>
              <a:ext uri="{FF2B5EF4-FFF2-40B4-BE49-F238E27FC236}">
                <a16:creationId xmlns:a16="http://schemas.microsoft.com/office/drawing/2014/main" id="{6283FBD2-A663-469F-855C-06D86E3C1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408" y="4911519"/>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8A1279FC-7441-4E55-B082-2774E6316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403092" y="5258990"/>
            <a:ext cx="1463040"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7F64D717-B44A-4F0C-B469-8F09DB4F0FD9}"/>
              </a:ext>
            </a:extLst>
          </p:cNvPr>
          <p:cNvSpPr/>
          <p:nvPr/>
        </p:nvSpPr>
        <p:spPr>
          <a:xfrm>
            <a:off x="4380266" y="4435052"/>
            <a:ext cx="7104188" cy="1645920"/>
          </a:xfrm>
          <a:prstGeom prst="rect">
            <a:avLst/>
          </a:prstGeom>
        </p:spPr>
        <p:txBody>
          <a:bodyPr vert="horz" lIns="91440" tIns="45720" rIns="91440" bIns="45720" rtlCol="0" anchor="ctr">
            <a:noAutofit/>
          </a:bodyPr>
          <a:lstStyle/>
          <a:p>
            <a:pPr algn="just"/>
            <a:endParaRPr lang="en-US" sz="1400" dirty="0">
              <a:solidFill>
                <a:schemeClr val="tx1">
                  <a:lumMod val="50000"/>
                  <a:lumOff val="50000"/>
                </a:schemeClr>
              </a:solidFill>
              <a:latin typeface="Segoe UI Light" panose="020B0502040204020203" pitchFamily="34" charset="0"/>
              <a:cs typeface="Segoe UI Light" panose="020B0502040204020203" pitchFamily="34" charset="0"/>
            </a:endParaRPr>
          </a:p>
          <a:p>
            <a:pPr marL="285750" indent="-285750" algn="just">
              <a:buFont typeface="Wingdings" panose="05000000000000000000" pitchFamily="2" charset="2"/>
              <a:buChar char="v"/>
            </a:pPr>
            <a:r>
              <a:rPr lang="en-US" sz="1400" dirty="0" err="1">
                <a:solidFill>
                  <a:schemeClr val="tx1">
                    <a:lumMod val="50000"/>
                    <a:lumOff val="50000"/>
                  </a:schemeClr>
                </a:solidFill>
                <a:latin typeface="Segoe UI Light" panose="020B0502040204020203" pitchFamily="34" charset="0"/>
                <a:cs typeface="Segoe UI Light" panose="020B0502040204020203" pitchFamily="34" charset="0"/>
              </a:rPr>
              <a:t>HashingTF</a:t>
            </a:r>
            <a:r>
              <a:rPr lang="en-US" sz="1400" dirty="0">
                <a:solidFill>
                  <a:schemeClr val="tx1">
                    <a:lumMod val="50000"/>
                    <a:lumOff val="50000"/>
                  </a:schemeClr>
                </a:solidFill>
                <a:latin typeface="Segoe UI Light" panose="020B0502040204020203" pitchFamily="34" charset="0"/>
                <a:cs typeface="Segoe UI Light" panose="020B0502040204020203" pitchFamily="34" charset="0"/>
              </a:rPr>
              <a:t> is a transformer that takes sets of terms (bag of words) and converts those sets into fixed-length feature vectors. A raw feature is mapped into an index (term) by applying a hash function. </a:t>
            </a:r>
            <a:r>
              <a:rPr lang="en-US" sz="1400" dirty="0" err="1">
                <a:solidFill>
                  <a:schemeClr val="tx1">
                    <a:lumMod val="50000"/>
                    <a:lumOff val="50000"/>
                  </a:schemeClr>
                </a:solidFill>
                <a:latin typeface="Segoe UI Light" panose="020B0502040204020203" pitchFamily="34" charset="0"/>
                <a:cs typeface="Segoe UI Light" panose="020B0502040204020203" pitchFamily="34" charset="0"/>
              </a:rPr>
              <a:t>HashingTF</a:t>
            </a:r>
            <a:r>
              <a:rPr lang="en-US" sz="1400" dirty="0">
                <a:solidFill>
                  <a:schemeClr val="tx1">
                    <a:lumMod val="50000"/>
                    <a:lumOff val="50000"/>
                  </a:schemeClr>
                </a:solidFill>
                <a:latin typeface="Segoe UI Light" panose="020B0502040204020203" pitchFamily="34" charset="0"/>
                <a:cs typeface="Segoe UI Light" panose="020B0502040204020203" pitchFamily="34" charset="0"/>
              </a:rPr>
              <a:t> is irreversible, meaning we can’t restore original input from a hash vector. This requires only a single scan and no additional memory. </a:t>
            </a:r>
          </a:p>
          <a:p>
            <a:pPr algn="just"/>
            <a:endParaRPr lang="en-US" sz="500" dirty="0">
              <a:solidFill>
                <a:schemeClr val="tx1">
                  <a:lumMod val="50000"/>
                  <a:lumOff val="50000"/>
                </a:schemeClr>
              </a:solidFill>
              <a:latin typeface="Segoe UI Light" panose="020B0502040204020203" pitchFamily="34" charset="0"/>
              <a:cs typeface="Segoe UI Light" panose="020B0502040204020203" pitchFamily="34" charset="0"/>
            </a:endParaRPr>
          </a:p>
          <a:p>
            <a:pPr marL="285750" indent="-285750" algn="just">
              <a:buFont typeface="Wingdings" panose="05000000000000000000" pitchFamily="2" charset="2"/>
              <a:buChar char="v"/>
            </a:pPr>
            <a:r>
              <a:rPr lang="en-US" sz="1400" dirty="0" err="1">
                <a:solidFill>
                  <a:schemeClr val="tx1">
                    <a:lumMod val="50000"/>
                    <a:lumOff val="50000"/>
                  </a:schemeClr>
                </a:solidFill>
                <a:latin typeface="Segoe UI Light" panose="020B0502040204020203" pitchFamily="34" charset="0"/>
                <a:cs typeface="Segoe UI Light" panose="020B0502040204020203" pitchFamily="34" charset="0"/>
              </a:rPr>
              <a:t>CountVectorizer</a:t>
            </a:r>
            <a:r>
              <a:rPr lang="en-US" sz="1400" dirty="0">
                <a:solidFill>
                  <a:schemeClr val="tx1">
                    <a:lumMod val="50000"/>
                    <a:lumOff val="50000"/>
                  </a:schemeClr>
                </a:solidFill>
                <a:latin typeface="Segoe UI Light" panose="020B0502040204020203" pitchFamily="34" charset="0"/>
                <a:cs typeface="Segoe UI Light" panose="020B0502040204020203" pitchFamily="34" charset="0"/>
              </a:rPr>
              <a:t> provides a simple way to both tokenize a collection of text documents and build a vocabulary of known words, but also encode new documents using that vocabulary. </a:t>
            </a:r>
            <a:r>
              <a:rPr lang="en-US" sz="1400" dirty="0" err="1">
                <a:solidFill>
                  <a:schemeClr val="tx1">
                    <a:lumMod val="50000"/>
                    <a:lumOff val="50000"/>
                  </a:schemeClr>
                </a:solidFill>
                <a:latin typeface="Segoe UI Light" panose="020B0502040204020203" pitchFamily="34" charset="0"/>
                <a:cs typeface="Segoe UI Light" panose="020B0502040204020203" pitchFamily="34" charset="0"/>
              </a:rPr>
              <a:t>CountVectorizer</a:t>
            </a:r>
            <a:r>
              <a:rPr lang="en-US" sz="1400" dirty="0">
                <a:solidFill>
                  <a:schemeClr val="tx1">
                    <a:lumMod val="50000"/>
                    <a:lumOff val="50000"/>
                  </a:schemeClr>
                </a:solidFill>
                <a:latin typeface="Segoe UI Light" panose="020B0502040204020203" pitchFamily="34" charset="0"/>
                <a:cs typeface="Segoe UI Light" panose="020B0502040204020203" pitchFamily="34" charset="0"/>
              </a:rPr>
              <a:t> with model (index) can be used to restore unordered input, meaning models can be harder to interpret. This requires additional scan over the data to build a model and additional memory to store vocabulary (index).</a:t>
            </a:r>
          </a:p>
          <a:p>
            <a:pPr algn="just"/>
            <a:endParaRPr lang="en-US" sz="14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pic>
        <p:nvPicPr>
          <p:cNvPr id="18" name="Picture 17">
            <a:extLst>
              <a:ext uri="{FF2B5EF4-FFF2-40B4-BE49-F238E27FC236}">
                <a16:creationId xmlns:a16="http://schemas.microsoft.com/office/drawing/2014/main" id="{B5A580DD-7FED-4B44-8A98-36E4BBDF0C2C}"/>
              </a:ext>
            </a:extLst>
          </p:cNvPr>
          <p:cNvPicPr>
            <a:picLocks noChangeAspect="1"/>
          </p:cNvPicPr>
          <p:nvPr/>
        </p:nvPicPr>
        <p:blipFill rotWithShape="1">
          <a:blip r:embed="rId4"/>
          <a:srcRect b="17730"/>
          <a:stretch/>
        </p:blipFill>
        <p:spPr>
          <a:xfrm>
            <a:off x="5605738" y="2630935"/>
            <a:ext cx="2553766" cy="1437106"/>
          </a:xfrm>
          <a:prstGeom prst="rect">
            <a:avLst/>
          </a:prstGeom>
        </p:spPr>
      </p:pic>
      <p:sp>
        <p:nvSpPr>
          <p:cNvPr id="19" name="Title 7">
            <a:extLst>
              <a:ext uri="{FF2B5EF4-FFF2-40B4-BE49-F238E27FC236}">
                <a16:creationId xmlns:a16="http://schemas.microsoft.com/office/drawing/2014/main" id="{75E49C79-7AD7-44EA-B44F-1B3CA63F1BD8}"/>
              </a:ext>
            </a:extLst>
          </p:cNvPr>
          <p:cNvSpPr txBox="1">
            <a:spLocks/>
          </p:cNvSpPr>
          <p:nvPr/>
        </p:nvSpPr>
        <p:spPr>
          <a:xfrm>
            <a:off x="5078629" y="405116"/>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Sentimental Analysis </a:t>
            </a:r>
            <a:endParaRPr lang="id-ID" sz="4000" spc="0" dirty="0">
              <a:latin typeface="Aller" panose="020B0503030302020204" pitchFamily="34" charset="0"/>
            </a:endParaRPr>
          </a:p>
        </p:txBody>
      </p:sp>
      <p:sp>
        <p:nvSpPr>
          <p:cNvPr id="21" name="Text Placeholder 2">
            <a:extLst>
              <a:ext uri="{FF2B5EF4-FFF2-40B4-BE49-F238E27FC236}">
                <a16:creationId xmlns:a16="http://schemas.microsoft.com/office/drawing/2014/main" id="{02923188-8636-438D-8466-113B82B64F39}"/>
              </a:ext>
            </a:extLst>
          </p:cNvPr>
          <p:cNvSpPr txBox="1">
            <a:spLocks/>
          </p:cNvSpPr>
          <p:nvPr/>
        </p:nvSpPr>
        <p:spPr>
          <a:xfrm>
            <a:off x="8216790" y="2822498"/>
            <a:ext cx="2318845" cy="1191751"/>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000" dirty="0">
                <a:solidFill>
                  <a:schemeClr val="bg1"/>
                </a:solidFill>
                <a:latin typeface="Segoe UI Light" panose="020B0502040204020203" pitchFamily="34" charset="0"/>
                <a:cs typeface="Segoe UI Light" panose="020B0502040204020203" pitchFamily="34" charset="0"/>
              </a:rPr>
              <a:t>65% of the reviews’ restaurants received are positive</a:t>
            </a:r>
            <a:endParaRPr lang="id-ID" sz="2000" dirty="0">
              <a:solidFill>
                <a:schemeClr val="bg1"/>
              </a:solidFill>
              <a:latin typeface="Segoe UI Light" panose="020B0502040204020203" pitchFamily="34" charset="0"/>
              <a:cs typeface="Segoe UI Light" panose="020B0502040204020203" pitchFamily="34" charset="0"/>
            </a:endParaRPr>
          </a:p>
        </p:txBody>
      </p:sp>
      <p:sp>
        <p:nvSpPr>
          <p:cNvPr id="23" name="TextBox 22">
            <a:extLst>
              <a:ext uri="{FF2B5EF4-FFF2-40B4-BE49-F238E27FC236}">
                <a16:creationId xmlns:a16="http://schemas.microsoft.com/office/drawing/2014/main" id="{B599212F-52B7-4385-8DA4-D8353121FA88}"/>
              </a:ext>
            </a:extLst>
          </p:cNvPr>
          <p:cNvSpPr txBox="1"/>
          <p:nvPr/>
        </p:nvSpPr>
        <p:spPr>
          <a:xfrm>
            <a:off x="4628189" y="1299542"/>
            <a:ext cx="3179315" cy="1477328"/>
          </a:xfrm>
          <a:prstGeom prst="rect">
            <a:avLst/>
          </a:prstGeom>
          <a:noFill/>
        </p:spPr>
        <p:txBody>
          <a:bodyPr wrap="square" rtlCol="0">
            <a:spAutoFit/>
          </a:bodyPr>
          <a:lstStyle/>
          <a:p>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Cleaning steps: </a:t>
            </a:r>
          </a:p>
          <a:p>
            <a:endParaRPr lang="en-US" sz="1500" dirty="0">
              <a:solidFill>
                <a:schemeClr val="tx1">
                  <a:lumMod val="50000"/>
                  <a:lumOff val="50000"/>
                </a:schemeClr>
              </a:solidFill>
              <a:latin typeface="Segoe UI Light" panose="020B0502040204020203" pitchFamily="34" charset="0"/>
              <a:cs typeface="Segoe UI Light" panose="020B0502040204020203" pitchFamily="34" charset="0"/>
            </a:endParaRP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Change everything to lower case </a:t>
            </a: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Remove punctuation</a:t>
            </a: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Stop words</a:t>
            </a: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Tokenize sentences  into words</a:t>
            </a:r>
          </a:p>
        </p:txBody>
      </p:sp>
      <p:sp>
        <p:nvSpPr>
          <p:cNvPr id="26" name="Text Placeholder 2">
            <a:extLst>
              <a:ext uri="{FF2B5EF4-FFF2-40B4-BE49-F238E27FC236}">
                <a16:creationId xmlns:a16="http://schemas.microsoft.com/office/drawing/2014/main" id="{093A98FD-07D8-498C-B4A5-98B1D0A0159B}"/>
              </a:ext>
            </a:extLst>
          </p:cNvPr>
          <p:cNvSpPr txBox="1">
            <a:spLocks/>
          </p:cNvSpPr>
          <p:nvPr/>
        </p:nvSpPr>
        <p:spPr>
          <a:xfrm>
            <a:off x="4053392" y="1291082"/>
            <a:ext cx="493611"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 1</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28" name="Text Placeholder 2">
            <a:extLst>
              <a:ext uri="{FF2B5EF4-FFF2-40B4-BE49-F238E27FC236}">
                <a16:creationId xmlns:a16="http://schemas.microsoft.com/office/drawing/2014/main" id="{F663A235-75E7-4C5C-80E6-071053E5F2A5}"/>
              </a:ext>
            </a:extLst>
          </p:cNvPr>
          <p:cNvSpPr txBox="1">
            <a:spLocks/>
          </p:cNvSpPr>
          <p:nvPr/>
        </p:nvSpPr>
        <p:spPr>
          <a:xfrm>
            <a:off x="7605437" y="1287135"/>
            <a:ext cx="493611"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 2</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8D596352-6D16-41CD-AD58-87118D66BE20}"/>
              </a:ext>
            </a:extLst>
          </p:cNvPr>
          <p:cNvSpPr/>
          <p:nvPr/>
        </p:nvSpPr>
        <p:spPr>
          <a:xfrm>
            <a:off x="8163061" y="1287135"/>
            <a:ext cx="5394679" cy="1015663"/>
          </a:xfrm>
          <a:prstGeom prst="rect">
            <a:avLst/>
          </a:prstGeom>
        </p:spPr>
        <p:txBody>
          <a:bodyPr wrap="square">
            <a:spAutoFit/>
          </a:bodyPr>
          <a:lstStyle/>
          <a:p>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Defining values: </a:t>
            </a:r>
          </a:p>
          <a:p>
            <a:endParaRPr lang="en-US" sz="1500" dirty="0">
              <a:solidFill>
                <a:schemeClr val="tx1">
                  <a:lumMod val="50000"/>
                  <a:lumOff val="50000"/>
                </a:schemeClr>
              </a:solidFill>
              <a:latin typeface="Segoe UI Light" panose="020B0502040204020203" pitchFamily="34" charset="0"/>
              <a:cs typeface="Segoe UI Light" panose="020B0502040204020203" pitchFamily="34" charset="0"/>
            </a:endParaRP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Y value: &gt; = 4 stars - Positive review (1)</a:t>
            </a:r>
          </a:p>
          <a:p>
            <a:pPr marL="285750" indent="-285750">
              <a:buFont typeface="Wingdings" panose="05000000000000000000" pitchFamily="2" charset="2"/>
              <a:buChar char="v"/>
            </a:pPr>
            <a:r>
              <a:rPr lang="en-US" sz="1500" dirty="0">
                <a:solidFill>
                  <a:schemeClr val="tx1">
                    <a:lumMod val="50000"/>
                    <a:lumOff val="50000"/>
                  </a:schemeClr>
                </a:solidFill>
                <a:latin typeface="Segoe UI Light" panose="020B0502040204020203" pitchFamily="34" charset="0"/>
                <a:cs typeface="Segoe UI Light" panose="020B0502040204020203" pitchFamily="34" charset="0"/>
              </a:rPr>
              <a:t>Y value: &lt; 4 stars  - Negative review (0)</a:t>
            </a:r>
          </a:p>
        </p:txBody>
      </p:sp>
    </p:spTree>
    <p:extLst>
      <p:ext uri="{BB962C8B-B14F-4D97-AF65-F5344CB8AC3E}">
        <p14:creationId xmlns:p14="http://schemas.microsoft.com/office/powerpoint/2010/main" val="23011116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0-#ppt_w/2"/>
                                          </p:val>
                                        </p:tav>
                                        <p:tav tm="100000">
                                          <p:val>
                                            <p:strVal val="#ppt_x"/>
                                          </p:val>
                                        </p:tav>
                                      </p:tavLst>
                                    </p:anim>
                                    <p:anim calcmode="lin" valueType="num">
                                      <p:cBhvr additive="base">
                                        <p:cTn id="8" dur="10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0-#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E1D66E2-2FD5-4034-8DD4-26DAA3D19606}"/>
              </a:ext>
            </a:extLst>
          </p:cNvPr>
          <p:cNvPicPr>
            <a:picLocks noChangeAspect="1"/>
          </p:cNvPicPr>
          <p:nvPr/>
        </p:nvPicPr>
        <p:blipFill>
          <a:blip r:embed="rId3"/>
          <a:stretch>
            <a:fillRect/>
          </a:stretch>
        </p:blipFill>
        <p:spPr>
          <a:xfrm>
            <a:off x="-15580" y="4015998"/>
            <a:ext cx="2711333" cy="2554227"/>
          </a:xfrm>
          <a:prstGeom prst="rect">
            <a:avLst/>
          </a:prstGeom>
        </p:spPr>
      </p:pic>
      <p:pic>
        <p:nvPicPr>
          <p:cNvPr id="30" name="Picture 29" descr="A screenshot of a cell phone&#10;&#10;Description automatically generated">
            <a:extLst>
              <a:ext uri="{FF2B5EF4-FFF2-40B4-BE49-F238E27FC236}">
                <a16:creationId xmlns:a16="http://schemas.microsoft.com/office/drawing/2014/main" id="{98F37F6B-25AD-42B2-AE9F-BD538BD3DC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3492" y="4154146"/>
            <a:ext cx="2661135" cy="2256180"/>
          </a:xfrm>
          <a:prstGeom prst="rect">
            <a:avLst/>
          </a:prstGeom>
        </p:spPr>
      </p:pic>
      <p:pic>
        <p:nvPicPr>
          <p:cNvPr id="8" name="Picture 7">
            <a:extLst>
              <a:ext uri="{FF2B5EF4-FFF2-40B4-BE49-F238E27FC236}">
                <a16:creationId xmlns:a16="http://schemas.microsoft.com/office/drawing/2014/main" id="{8DC10DCE-9845-4317-B5F4-5060C77454B0}"/>
              </a:ext>
            </a:extLst>
          </p:cNvPr>
          <p:cNvPicPr>
            <a:picLocks noChangeAspect="1"/>
          </p:cNvPicPr>
          <p:nvPr/>
        </p:nvPicPr>
        <p:blipFill>
          <a:blip r:embed="rId5"/>
          <a:stretch>
            <a:fillRect/>
          </a:stretch>
        </p:blipFill>
        <p:spPr>
          <a:xfrm>
            <a:off x="5222272" y="4686322"/>
            <a:ext cx="6762612" cy="1541185"/>
          </a:xfrm>
          <a:prstGeom prst="rect">
            <a:avLst/>
          </a:prstGeom>
        </p:spPr>
      </p:pic>
      <p:sp>
        <p:nvSpPr>
          <p:cNvPr id="51" name="Title 7">
            <a:extLst>
              <a:ext uri="{FF2B5EF4-FFF2-40B4-BE49-F238E27FC236}">
                <a16:creationId xmlns:a16="http://schemas.microsoft.com/office/drawing/2014/main" id="{C1725B10-E1B6-48D2-A1F5-2895B57B1DB6}"/>
              </a:ext>
            </a:extLst>
          </p:cNvPr>
          <p:cNvSpPr txBox="1">
            <a:spLocks/>
          </p:cNvSpPr>
          <p:nvPr/>
        </p:nvSpPr>
        <p:spPr>
          <a:xfrm>
            <a:off x="5078629" y="405116"/>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Sentimental Analysis </a:t>
            </a:r>
            <a:endParaRPr lang="id-ID" sz="4000" spc="0" dirty="0">
              <a:latin typeface="Aller" panose="020B0503030302020204" pitchFamily="34" charset="0"/>
            </a:endParaRPr>
          </a:p>
        </p:txBody>
      </p:sp>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sp>
        <p:nvSpPr>
          <p:cNvPr id="22" name="Text Placeholder 2">
            <a:extLst>
              <a:ext uri="{FF2B5EF4-FFF2-40B4-BE49-F238E27FC236}">
                <a16:creationId xmlns:a16="http://schemas.microsoft.com/office/drawing/2014/main" id="{B5DDA317-1F3F-4367-B748-84852BB5AEF4}"/>
              </a:ext>
            </a:extLst>
          </p:cNvPr>
          <p:cNvSpPr txBox="1">
            <a:spLocks/>
          </p:cNvSpPr>
          <p:nvPr/>
        </p:nvSpPr>
        <p:spPr>
          <a:xfrm>
            <a:off x="5214184" y="4228795"/>
            <a:ext cx="3376538"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 Gradient Boost Classifier</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2E2D92CD-874B-4C8B-A125-18ED909F959D}"/>
              </a:ext>
            </a:extLst>
          </p:cNvPr>
          <p:cNvSpPr/>
          <p:nvPr/>
        </p:nvSpPr>
        <p:spPr>
          <a:xfrm>
            <a:off x="207116" y="2332612"/>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Aller" panose="020B0503030302020204" pitchFamily="34" charset="0"/>
            </a:endParaRPr>
          </a:p>
          <a:p>
            <a:pPr algn="just">
              <a:lnSpc>
                <a:spcPct val="100000"/>
              </a:lnSpc>
              <a:spcBef>
                <a:spcPts val="0"/>
              </a:spcBef>
            </a:pPr>
            <a:r>
              <a:rPr lang="en-US" dirty="0">
                <a:solidFill>
                  <a:schemeClr val="tx1">
                    <a:lumMod val="50000"/>
                    <a:lumOff val="50000"/>
                  </a:schemeClr>
                </a:solidFill>
                <a:latin typeface="Aller" panose="020B0503030302020204" pitchFamily="34" charset="0"/>
              </a:rPr>
              <a:t>Accuracy: 83.9% | F1 score: 83.4%</a:t>
            </a:r>
            <a:endParaRPr lang="id-ID" dirty="0">
              <a:solidFill>
                <a:schemeClr val="tx1">
                  <a:lumMod val="50000"/>
                  <a:lumOff val="50000"/>
                </a:schemeClr>
              </a:solidFill>
              <a:latin typeface="Aller" panose="020B0503030302020204" pitchFamily="34" charset="0"/>
            </a:endParaRPr>
          </a:p>
        </p:txBody>
      </p:sp>
      <p:sp>
        <p:nvSpPr>
          <p:cNvPr id="28" name="Rectangle 27">
            <a:extLst>
              <a:ext uri="{FF2B5EF4-FFF2-40B4-BE49-F238E27FC236}">
                <a16:creationId xmlns:a16="http://schemas.microsoft.com/office/drawing/2014/main" id="{DA6F6FDC-043A-41E5-886C-44E2E246FBF3}"/>
              </a:ext>
            </a:extLst>
          </p:cNvPr>
          <p:cNvSpPr/>
          <p:nvPr/>
        </p:nvSpPr>
        <p:spPr>
          <a:xfrm>
            <a:off x="8678019" y="1862642"/>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Segoe UI Light" panose="020B0502040204020203" pitchFamily="34" charset="0"/>
              <a:cs typeface="Segoe UI Light" panose="020B0502040204020203" pitchFamily="34" charset="0"/>
            </a:endParaRPr>
          </a:p>
          <a:p>
            <a:pPr algn="just">
              <a:lnSpc>
                <a:spcPct val="100000"/>
              </a:lnSpc>
              <a:spcBef>
                <a:spcPts val="0"/>
              </a:spcBef>
            </a:pPr>
            <a:r>
              <a:rPr lang="en-US" dirty="0">
                <a:solidFill>
                  <a:schemeClr val="tx1">
                    <a:lumMod val="50000"/>
                    <a:lumOff val="50000"/>
                  </a:schemeClr>
                </a:solidFill>
                <a:latin typeface="Segoe UI Light" panose="020B0502040204020203" pitchFamily="34" charset="0"/>
                <a:cs typeface="Segoe UI Light" panose="020B0502040204020203" pitchFamily="34" charset="0"/>
              </a:rPr>
              <a:t>Accuracy: 73.5% | F1 score: 73.8%</a:t>
            </a:r>
            <a:endParaRPr lang="id-ID"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487BBD3A-2F15-4C9D-8139-66D459AACC5A}"/>
              </a:ext>
            </a:extLst>
          </p:cNvPr>
          <p:cNvSpPr/>
          <p:nvPr/>
        </p:nvSpPr>
        <p:spPr>
          <a:xfrm>
            <a:off x="8476024" y="4300626"/>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Segoe UI Light" panose="020B0502040204020203" pitchFamily="34" charset="0"/>
              <a:cs typeface="Segoe UI Light" panose="020B0502040204020203" pitchFamily="34" charset="0"/>
            </a:endParaRPr>
          </a:p>
          <a:p>
            <a:pPr algn="just">
              <a:lnSpc>
                <a:spcPct val="100000"/>
              </a:lnSpc>
              <a:spcBef>
                <a:spcPts val="0"/>
              </a:spcBef>
            </a:pPr>
            <a:r>
              <a:rPr lang="en-US" dirty="0">
                <a:solidFill>
                  <a:schemeClr val="tx1">
                    <a:lumMod val="50000"/>
                    <a:lumOff val="50000"/>
                  </a:schemeClr>
                </a:solidFill>
                <a:latin typeface="Segoe UI Light" panose="020B0502040204020203" pitchFamily="34" charset="0"/>
                <a:cs typeface="Segoe UI Light" panose="020B0502040204020203" pitchFamily="34" charset="0"/>
              </a:rPr>
              <a:t>Accuracy: 76.5% | F1 score: 75.1%</a:t>
            </a:r>
            <a:endParaRPr lang="id-ID" dirty="0">
              <a:solidFill>
                <a:schemeClr val="tx1">
                  <a:lumMod val="50000"/>
                  <a:lumOff val="50000"/>
                </a:schemeClr>
              </a:solidFill>
              <a:latin typeface="Segoe UI Light" panose="020B0502040204020203" pitchFamily="34" charset="0"/>
              <a:cs typeface="Segoe UI Light" panose="020B0502040204020203" pitchFamily="34" charset="0"/>
            </a:endParaRPr>
          </a:p>
        </p:txBody>
      </p:sp>
      <p:pic>
        <p:nvPicPr>
          <p:cNvPr id="10" name="Picture 9">
            <a:extLst>
              <a:ext uri="{FF2B5EF4-FFF2-40B4-BE49-F238E27FC236}">
                <a16:creationId xmlns:a16="http://schemas.microsoft.com/office/drawing/2014/main" id="{D7DEB349-EAF2-4DC3-A97D-D135F93378D9}"/>
              </a:ext>
            </a:extLst>
          </p:cNvPr>
          <p:cNvPicPr>
            <a:picLocks noChangeAspect="1"/>
          </p:cNvPicPr>
          <p:nvPr/>
        </p:nvPicPr>
        <p:blipFill>
          <a:blip r:embed="rId6"/>
          <a:stretch>
            <a:fillRect/>
          </a:stretch>
        </p:blipFill>
        <p:spPr>
          <a:xfrm>
            <a:off x="5188562" y="2194731"/>
            <a:ext cx="6843145" cy="1667657"/>
          </a:xfrm>
          <a:prstGeom prst="rect">
            <a:avLst/>
          </a:prstGeom>
        </p:spPr>
      </p:pic>
      <p:sp>
        <p:nvSpPr>
          <p:cNvPr id="31" name="Rectangle 30">
            <a:extLst>
              <a:ext uri="{FF2B5EF4-FFF2-40B4-BE49-F238E27FC236}">
                <a16:creationId xmlns:a16="http://schemas.microsoft.com/office/drawing/2014/main" id="{9ACFA0C9-3530-4EF2-93D5-F210A5189121}"/>
              </a:ext>
            </a:extLst>
          </p:cNvPr>
          <p:cNvSpPr/>
          <p:nvPr/>
        </p:nvSpPr>
        <p:spPr>
          <a:xfrm>
            <a:off x="5425055" y="954514"/>
            <a:ext cx="3762377" cy="430887"/>
          </a:xfrm>
          <a:prstGeom prst="rect">
            <a:avLst/>
          </a:prstGeom>
        </p:spPr>
        <p:txBody>
          <a:bodyPr wrap="square">
            <a:spAutoFit/>
          </a:bodyPr>
          <a:lstStyle/>
          <a:p>
            <a:pPr algn="just"/>
            <a:r>
              <a:rPr lang="en-US" sz="2200" dirty="0" err="1">
                <a:solidFill>
                  <a:schemeClr val="tx1">
                    <a:lumMod val="50000"/>
                    <a:lumOff val="50000"/>
                  </a:schemeClr>
                </a:solidFill>
                <a:latin typeface="Segoe UI Light" panose="020B0502040204020203" pitchFamily="34" charset="0"/>
                <a:cs typeface="Segoe UI Light" panose="020B0502040204020203" pitchFamily="34" charset="0"/>
              </a:rPr>
              <a:t>HashingTF</a:t>
            </a:r>
            <a:endParaRPr lang="en-US" sz="22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pic>
        <p:nvPicPr>
          <p:cNvPr id="34" name="Picture Placeholder 8">
            <a:extLst>
              <a:ext uri="{FF2B5EF4-FFF2-40B4-BE49-F238E27FC236}">
                <a16:creationId xmlns:a16="http://schemas.microsoft.com/office/drawing/2014/main" id="{093FAD8D-6418-4C49-9A48-59464A1D719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0" y="691897"/>
            <a:ext cx="3931900" cy="2621266"/>
          </a:xfrm>
          <a:prstGeom prst="rect">
            <a:avLst/>
          </a:prstGeom>
          <a:solidFill>
            <a:schemeClr val="bg1">
              <a:lumMod val="95000"/>
            </a:schemeClr>
          </a:solidFill>
          <a:effectLst>
            <a:outerShdw blurRad="635000" dist="1282700" dir="8940000" algn="tr" rotWithShape="0">
              <a:prstClr val="black">
                <a:alpha val="30000"/>
              </a:prstClr>
            </a:outerShdw>
          </a:effectLst>
        </p:spPr>
      </p:pic>
      <p:sp>
        <p:nvSpPr>
          <p:cNvPr id="26" name="Text Placeholder 2">
            <a:extLst>
              <a:ext uri="{FF2B5EF4-FFF2-40B4-BE49-F238E27FC236}">
                <a16:creationId xmlns:a16="http://schemas.microsoft.com/office/drawing/2014/main" id="{C2C6514A-D785-4D6A-A3E0-CA70914AD6BC}"/>
              </a:ext>
            </a:extLst>
          </p:cNvPr>
          <p:cNvSpPr txBox="1">
            <a:spLocks/>
          </p:cNvSpPr>
          <p:nvPr/>
        </p:nvSpPr>
        <p:spPr>
          <a:xfrm>
            <a:off x="207116" y="3136034"/>
            <a:ext cx="4304389"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Logistic Regression Classification</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17" name="Text Placeholder 2">
            <a:extLst>
              <a:ext uri="{FF2B5EF4-FFF2-40B4-BE49-F238E27FC236}">
                <a16:creationId xmlns:a16="http://schemas.microsoft.com/office/drawing/2014/main" id="{2D0FA31A-6EF0-461B-B107-2537551E2B36}"/>
              </a:ext>
            </a:extLst>
          </p:cNvPr>
          <p:cNvSpPr txBox="1">
            <a:spLocks/>
          </p:cNvSpPr>
          <p:nvPr/>
        </p:nvSpPr>
        <p:spPr>
          <a:xfrm>
            <a:off x="5078629" y="1806236"/>
            <a:ext cx="3646458"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 Decision Tree Classification</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35" name="Rectangle 34">
            <a:extLst>
              <a:ext uri="{FF2B5EF4-FFF2-40B4-BE49-F238E27FC236}">
                <a16:creationId xmlns:a16="http://schemas.microsoft.com/office/drawing/2014/main" id="{46990398-5EDF-4CBE-9ADD-60D81949EC66}"/>
              </a:ext>
            </a:extLst>
          </p:cNvPr>
          <p:cNvSpPr/>
          <p:nvPr/>
        </p:nvSpPr>
        <p:spPr>
          <a:xfrm>
            <a:off x="277801" y="3713555"/>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Segoe UI Light" panose="020B0502040204020203" pitchFamily="34" charset="0"/>
              <a:cs typeface="Segoe UI Light" panose="020B0502040204020203" pitchFamily="34" charset="0"/>
            </a:endParaRPr>
          </a:p>
          <a:p>
            <a:pPr algn="just">
              <a:lnSpc>
                <a:spcPct val="100000"/>
              </a:lnSpc>
              <a:spcBef>
                <a:spcPts val="0"/>
              </a:spcBef>
            </a:pPr>
            <a:r>
              <a:rPr lang="en-US" dirty="0">
                <a:solidFill>
                  <a:schemeClr val="tx1">
                    <a:lumMod val="50000"/>
                    <a:lumOff val="50000"/>
                  </a:schemeClr>
                </a:solidFill>
                <a:latin typeface="Segoe UI Light" panose="020B0502040204020203" pitchFamily="34" charset="0"/>
                <a:cs typeface="Segoe UI Light" panose="020B0502040204020203" pitchFamily="34" charset="0"/>
              </a:rPr>
              <a:t>Accuracy: 84.6% | F1 score: 84.2%</a:t>
            </a:r>
            <a:endParaRPr lang="id-ID"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2000588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0-#ppt_w/2"/>
                                          </p:val>
                                        </p:tav>
                                        <p:tav tm="100000">
                                          <p:val>
                                            <p:strVal val="#ppt_x"/>
                                          </p:val>
                                        </p:tav>
                                      </p:tavLst>
                                    </p:anim>
                                    <p:anim calcmode="lin" valueType="num">
                                      <p:cBhvr additive="base">
                                        <p:cTn id="8" dur="10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 name="Title 7">
            <a:extLst>
              <a:ext uri="{FF2B5EF4-FFF2-40B4-BE49-F238E27FC236}">
                <a16:creationId xmlns:a16="http://schemas.microsoft.com/office/drawing/2014/main" id="{C1725B10-E1B6-48D2-A1F5-2895B57B1DB6}"/>
              </a:ext>
            </a:extLst>
          </p:cNvPr>
          <p:cNvSpPr txBox="1">
            <a:spLocks/>
          </p:cNvSpPr>
          <p:nvPr/>
        </p:nvSpPr>
        <p:spPr>
          <a:xfrm>
            <a:off x="5078629" y="405116"/>
            <a:ext cx="6630340" cy="492124"/>
          </a:xfrm>
          <a:prstGeom prst="rect">
            <a:avLst/>
          </a:prstGeom>
        </p:spPr>
        <p:txBody>
          <a:bodyPr anchor="ctr"/>
          <a:lstStyle>
            <a:lvl1pPr algn="l" defTabSz="914400" rtl="0" eaLnBrk="1" latinLnBrk="0" hangingPunct="1">
              <a:lnSpc>
                <a:spcPct val="90000"/>
              </a:lnSpc>
              <a:spcBef>
                <a:spcPct val="0"/>
              </a:spcBef>
              <a:buNone/>
              <a:defRPr sz="3600" kern="1200" spc="300">
                <a:solidFill>
                  <a:schemeClr val="tx1">
                    <a:lumMod val="65000"/>
                    <a:lumOff val="35000"/>
                  </a:schemeClr>
                </a:solidFill>
                <a:latin typeface="Bebas Neue Regular" panose="00000500000000000000" pitchFamily="2" charset="0"/>
                <a:ea typeface="+mj-ea"/>
                <a:cs typeface="+mj-cs"/>
              </a:defRPr>
            </a:lvl1pPr>
          </a:lstStyle>
          <a:p>
            <a:r>
              <a:rPr lang="en-US" sz="4000" spc="0" dirty="0">
                <a:latin typeface="Aller" panose="020B0503030302020204" pitchFamily="34" charset="0"/>
              </a:rPr>
              <a:t>Data – Sentimental Analysis </a:t>
            </a:r>
            <a:endParaRPr lang="id-ID" sz="4000" spc="0" dirty="0">
              <a:latin typeface="Aller" panose="020B0503030302020204" pitchFamily="34" charset="0"/>
            </a:endParaRPr>
          </a:p>
        </p:txBody>
      </p:sp>
      <p:sp>
        <p:nvSpPr>
          <p:cNvPr id="27" name="Rectangle 26">
            <a:extLst>
              <a:ext uri="{FF2B5EF4-FFF2-40B4-BE49-F238E27FC236}">
                <a16:creationId xmlns:a16="http://schemas.microsoft.com/office/drawing/2014/main" id="{7C6DAF56-8D5B-4EBC-901F-E753AA70FE80}"/>
              </a:ext>
            </a:extLst>
          </p:cNvPr>
          <p:cNvSpPr/>
          <p:nvPr/>
        </p:nvSpPr>
        <p:spPr>
          <a:xfrm>
            <a:off x="943647" y="3800204"/>
            <a:ext cx="359768" cy="438117"/>
          </a:xfrm>
          <a:prstGeom prst="rect">
            <a:avLst/>
          </a:prstGeom>
        </p:spPr>
        <p:txBody>
          <a:bodyPr wrap="square">
            <a:spAutoFit/>
          </a:bodyPr>
          <a:lstStyle/>
          <a:p>
            <a:pPr algn="ctr">
              <a:lnSpc>
                <a:spcPct val="100000"/>
              </a:lnSpc>
            </a:pPr>
            <a:endParaRPr lang="en-US" sz="1400" dirty="0">
              <a:solidFill>
                <a:schemeClr val="tx1">
                  <a:lumMod val="65000"/>
                  <a:lumOff val="35000"/>
                </a:schemeClr>
              </a:solidFill>
              <a:latin typeface="Aller" panose="020B0503030302020204" pitchFamily="34" charset="0"/>
            </a:endParaRPr>
          </a:p>
        </p:txBody>
      </p:sp>
      <p:sp>
        <p:nvSpPr>
          <p:cNvPr id="3" name="Rectangle 2">
            <a:extLst>
              <a:ext uri="{FF2B5EF4-FFF2-40B4-BE49-F238E27FC236}">
                <a16:creationId xmlns:a16="http://schemas.microsoft.com/office/drawing/2014/main" id="{2E2D92CD-874B-4C8B-A125-18ED909F959D}"/>
              </a:ext>
            </a:extLst>
          </p:cNvPr>
          <p:cNvSpPr/>
          <p:nvPr/>
        </p:nvSpPr>
        <p:spPr>
          <a:xfrm>
            <a:off x="207116" y="2332612"/>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Aller" panose="020B0503030302020204" pitchFamily="34" charset="0"/>
            </a:endParaRPr>
          </a:p>
          <a:p>
            <a:pPr algn="just">
              <a:lnSpc>
                <a:spcPct val="100000"/>
              </a:lnSpc>
              <a:spcBef>
                <a:spcPts val="0"/>
              </a:spcBef>
            </a:pPr>
            <a:r>
              <a:rPr lang="en-US" dirty="0">
                <a:solidFill>
                  <a:schemeClr val="tx1">
                    <a:lumMod val="50000"/>
                    <a:lumOff val="50000"/>
                  </a:schemeClr>
                </a:solidFill>
                <a:latin typeface="Aller" panose="020B0503030302020204" pitchFamily="34" charset="0"/>
              </a:rPr>
              <a:t>Accuracy: 89.3% | F1 score: 89.2%</a:t>
            </a:r>
            <a:endParaRPr lang="id-ID" dirty="0">
              <a:solidFill>
                <a:schemeClr val="tx1">
                  <a:lumMod val="50000"/>
                  <a:lumOff val="50000"/>
                </a:schemeClr>
              </a:solidFill>
              <a:latin typeface="Aller" panose="020B0503030302020204" pitchFamily="34" charset="0"/>
            </a:endParaRPr>
          </a:p>
        </p:txBody>
      </p:sp>
      <p:sp>
        <p:nvSpPr>
          <p:cNvPr id="31" name="Rectangle 30">
            <a:extLst>
              <a:ext uri="{FF2B5EF4-FFF2-40B4-BE49-F238E27FC236}">
                <a16:creationId xmlns:a16="http://schemas.microsoft.com/office/drawing/2014/main" id="{9ACFA0C9-3530-4EF2-93D5-F210A5189121}"/>
              </a:ext>
            </a:extLst>
          </p:cNvPr>
          <p:cNvSpPr/>
          <p:nvPr/>
        </p:nvSpPr>
        <p:spPr>
          <a:xfrm>
            <a:off x="5425055" y="954514"/>
            <a:ext cx="3762377" cy="430887"/>
          </a:xfrm>
          <a:prstGeom prst="rect">
            <a:avLst/>
          </a:prstGeom>
        </p:spPr>
        <p:txBody>
          <a:bodyPr wrap="square">
            <a:spAutoFit/>
          </a:bodyPr>
          <a:lstStyle/>
          <a:p>
            <a:pPr algn="just"/>
            <a:r>
              <a:rPr lang="en-US" sz="2200" dirty="0" err="1">
                <a:solidFill>
                  <a:schemeClr val="tx1">
                    <a:lumMod val="50000"/>
                    <a:lumOff val="50000"/>
                  </a:schemeClr>
                </a:solidFill>
                <a:latin typeface="Segoe UI Light" panose="020B0502040204020203" pitchFamily="34" charset="0"/>
                <a:cs typeface="Segoe UI Light" panose="020B0502040204020203" pitchFamily="34" charset="0"/>
              </a:rPr>
              <a:t>CountVectorizer</a:t>
            </a:r>
            <a:endParaRPr lang="en-US" sz="22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2BA3BA90-1788-44C0-BBE4-769692A102E0}"/>
              </a:ext>
            </a:extLst>
          </p:cNvPr>
          <p:cNvPicPr>
            <a:picLocks noChangeAspect="1"/>
          </p:cNvPicPr>
          <p:nvPr/>
        </p:nvPicPr>
        <p:blipFill rotWithShape="1">
          <a:blip r:embed="rId3"/>
          <a:srcRect l="6823" r="7631" b="4789"/>
          <a:stretch/>
        </p:blipFill>
        <p:spPr>
          <a:xfrm>
            <a:off x="207116" y="4224833"/>
            <a:ext cx="2596597" cy="2426594"/>
          </a:xfrm>
          <a:prstGeom prst="rect">
            <a:avLst/>
          </a:prstGeom>
        </p:spPr>
      </p:pic>
      <p:pic>
        <p:nvPicPr>
          <p:cNvPr id="6" name="Picture 5">
            <a:extLst>
              <a:ext uri="{FF2B5EF4-FFF2-40B4-BE49-F238E27FC236}">
                <a16:creationId xmlns:a16="http://schemas.microsoft.com/office/drawing/2014/main" id="{5946DDAE-78E1-415D-8122-918180BE875E}"/>
              </a:ext>
            </a:extLst>
          </p:cNvPr>
          <p:cNvPicPr>
            <a:picLocks noChangeAspect="1"/>
          </p:cNvPicPr>
          <p:nvPr/>
        </p:nvPicPr>
        <p:blipFill rotWithShape="1">
          <a:blip r:embed="rId4"/>
          <a:srcRect l="5255" r="5034" b="5251"/>
          <a:stretch/>
        </p:blipFill>
        <p:spPr>
          <a:xfrm>
            <a:off x="2803713" y="4224834"/>
            <a:ext cx="2723029" cy="2426593"/>
          </a:xfrm>
          <a:prstGeom prst="rect">
            <a:avLst/>
          </a:prstGeom>
        </p:spPr>
      </p:pic>
      <p:pic>
        <p:nvPicPr>
          <p:cNvPr id="7" name="Picture 6">
            <a:extLst>
              <a:ext uri="{FF2B5EF4-FFF2-40B4-BE49-F238E27FC236}">
                <a16:creationId xmlns:a16="http://schemas.microsoft.com/office/drawing/2014/main" id="{5FE08F7C-75BE-4642-A057-EF5CFB79FB19}"/>
              </a:ext>
            </a:extLst>
          </p:cNvPr>
          <p:cNvPicPr>
            <a:picLocks noChangeAspect="1"/>
          </p:cNvPicPr>
          <p:nvPr/>
        </p:nvPicPr>
        <p:blipFill>
          <a:blip r:embed="rId5"/>
          <a:stretch>
            <a:fillRect/>
          </a:stretch>
        </p:blipFill>
        <p:spPr>
          <a:xfrm>
            <a:off x="5876364" y="4188554"/>
            <a:ext cx="4827495" cy="2489609"/>
          </a:xfrm>
          <a:prstGeom prst="rect">
            <a:avLst/>
          </a:prstGeom>
        </p:spPr>
      </p:pic>
      <p:pic>
        <p:nvPicPr>
          <p:cNvPr id="11" name="Picture 10">
            <a:extLst>
              <a:ext uri="{FF2B5EF4-FFF2-40B4-BE49-F238E27FC236}">
                <a16:creationId xmlns:a16="http://schemas.microsoft.com/office/drawing/2014/main" id="{579031B7-BE57-47E5-8507-935DB0825A07}"/>
              </a:ext>
            </a:extLst>
          </p:cNvPr>
          <p:cNvPicPr>
            <a:picLocks noChangeAspect="1"/>
          </p:cNvPicPr>
          <p:nvPr/>
        </p:nvPicPr>
        <p:blipFill>
          <a:blip r:embed="rId6"/>
          <a:stretch>
            <a:fillRect/>
          </a:stretch>
        </p:blipFill>
        <p:spPr>
          <a:xfrm>
            <a:off x="6830294" y="1473186"/>
            <a:ext cx="5103143" cy="2576587"/>
          </a:xfrm>
          <a:prstGeom prst="rect">
            <a:avLst/>
          </a:prstGeom>
        </p:spPr>
      </p:pic>
      <p:sp>
        <p:nvSpPr>
          <p:cNvPr id="21" name="Text Placeholder 2">
            <a:extLst>
              <a:ext uri="{FF2B5EF4-FFF2-40B4-BE49-F238E27FC236}">
                <a16:creationId xmlns:a16="http://schemas.microsoft.com/office/drawing/2014/main" id="{CF1939F4-409C-4A6F-A28C-8EFAEA327760}"/>
              </a:ext>
            </a:extLst>
          </p:cNvPr>
          <p:cNvSpPr txBox="1">
            <a:spLocks/>
          </p:cNvSpPr>
          <p:nvPr/>
        </p:nvSpPr>
        <p:spPr>
          <a:xfrm>
            <a:off x="6324464" y="2423384"/>
            <a:ext cx="1260855"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Positive</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23" name="Text Placeholder 2">
            <a:extLst>
              <a:ext uri="{FF2B5EF4-FFF2-40B4-BE49-F238E27FC236}">
                <a16:creationId xmlns:a16="http://schemas.microsoft.com/office/drawing/2014/main" id="{6190042B-2DEB-464E-8212-C4BFCF18E8FF}"/>
              </a:ext>
            </a:extLst>
          </p:cNvPr>
          <p:cNvSpPr txBox="1">
            <a:spLocks/>
          </p:cNvSpPr>
          <p:nvPr/>
        </p:nvSpPr>
        <p:spPr>
          <a:xfrm>
            <a:off x="9878449" y="5337653"/>
            <a:ext cx="1333796"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Negative</a:t>
            </a:r>
            <a:endParaRPr lang="id-ID" sz="2400" b="1" dirty="0">
              <a:solidFill>
                <a:schemeClr val="bg1"/>
              </a:solidFill>
              <a:latin typeface="Segoe UI Light" panose="020B0502040204020203" pitchFamily="34" charset="0"/>
              <a:cs typeface="Segoe UI Light" panose="020B0502040204020203" pitchFamily="34" charset="0"/>
            </a:endParaRPr>
          </a:p>
        </p:txBody>
      </p:sp>
      <p:pic>
        <p:nvPicPr>
          <p:cNvPr id="25" name="Picture Placeholder 8">
            <a:extLst>
              <a:ext uri="{FF2B5EF4-FFF2-40B4-BE49-F238E27FC236}">
                <a16:creationId xmlns:a16="http://schemas.microsoft.com/office/drawing/2014/main" id="{08D73DDE-54D0-4FE7-AED3-B447E6F78FB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0" y="691897"/>
            <a:ext cx="3931900" cy="2621266"/>
          </a:xfrm>
          <a:prstGeom prst="rect">
            <a:avLst/>
          </a:prstGeom>
          <a:solidFill>
            <a:schemeClr val="bg1">
              <a:lumMod val="95000"/>
            </a:schemeClr>
          </a:solidFill>
          <a:effectLst>
            <a:outerShdw blurRad="635000" dist="1282700" dir="8940000" algn="tr" rotWithShape="0">
              <a:prstClr val="black">
                <a:alpha val="30000"/>
              </a:prstClr>
            </a:outerShdw>
          </a:effectLst>
        </p:spPr>
      </p:pic>
      <p:sp>
        <p:nvSpPr>
          <p:cNvPr id="26" name="Text Placeholder 2">
            <a:extLst>
              <a:ext uri="{FF2B5EF4-FFF2-40B4-BE49-F238E27FC236}">
                <a16:creationId xmlns:a16="http://schemas.microsoft.com/office/drawing/2014/main" id="{C2C6514A-D785-4D6A-A3E0-CA70914AD6BC}"/>
              </a:ext>
            </a:extLst>
          </p:cNvPr>
          <p:cNvSpPr txBox="1">
            <a:spLocks/>
          </p:cNvSpPr>
          <p:nvPr/>
        </p:nvSpPr>
        <p:spPr>
          <a:xfrm>
            <a:off x="207116" y="3235421"/>
            <a:ext cx="4304389" cy="492124"/>
          </a:xfrm>
          <a:prstGeom prst="rect">
            <a:avLst/>
          </a:prstGeom>
          <a:solidFill>
            <a:srgbClr val="C00000"/>
          </a:solidFill>
        </p:spPr>
        <p:txBody>
          <a:bodyPr/>
          <a:lstStyle>
            <a:lvl1pPr marL="0" indent="0" algn="ctr" defTabSz="1460754" rtl="0" eaLnBrk="1" latinLnBrk="0" hangingPunct="1">
              <a:lnSpc>
                <a:spcPct val="90000"/>
              </a:lnSpc>
              <a:spcBef>
                <a:spcPts val="1598"/>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algn="just">
              <a:lnSpc>
                <a:spcPct val="100000"/>
              </a:lnSpc>
            </a:pPr>
            <a:r>
              <a:rPr lang="en-US" sz="2400" b="1" dirty="0">
                <a:solidFill>
                  <a:schemeClr val="bg1"/>
                </a:solidFill>
                <a:latin typeface="Segoe UI Light" panose="020B0502040204020203" pitchFamily="34" charset="0"/>
                <a:cs typeface="Segoe UI Light" panose="020B0502040204020203" pitchFamily="34" charset="0"/>
              </a:rPr>
              <a:t>Logistic Regression Classification</a:t>
            </a:r>
            <a:endParaRPr lang="id-ID" sz="2400" b="1" dirty="0">
              <a:solidFill>
                <a:schemeClr val="bg1"/>
              </a:solidFill>
              <a:latin typeface="Segoe UI Light" panose="020B0502040204020203" pitchFamily="34" charset="0"/>
              <a:cs typeface="Segoe UI Light" panose="020B0502040204020203" pitchFamily="34" charset="0"/>
            </a:endParaRPr>
          </a:p>
        </p:txBody>
      </p:sp>
      <p:sp>
        <p:nvSpPr>
          <p:cNvPr id="30" name="Rectangle 29">
            <a:extLst>
              <a:ext uri="{FF2B5EF4-FFF2-40B4-BE49-F238E27FC236}">
                <a16:creationId xmlns:a16="http://schemas.microsoft.com/office/drawing/2014/main" id="{3B3FE09E-D8AB-4D32-AA9C-847703544D6E}"/>
              </a:ext>
            </a:extLst>
          </p:cNvPr>
          <p:cNvSpPr/>
          <p:nvPr/>
        </p:nvSpPr>
        <p:spPr>
          <a:xfrm>
            <a:off x="541890" y="3803832"/>
            <a:ext cx="6096000" cy="384721"/>
          </a:xfrm>
          <a:prstGeom prst="rect">
            <a:avLst/>
          </a:prstGeom>
        </p:spPr>
        <p:txBody>
          <a:bodyPr>
            <a:spAutoFit/>
          </a:bodyPr>
          <a:lstStyle/>
          <a:p>
            <a:pPr algn="just">
              <a:lnSpc>
                <a:spcPct val="100000"/>
              </a:lnSpc>
              <a:spcBef>
                <a:spcPts val="0"/>
              </a:spcBef>
            </a:pPr>
            <a:endParaRPr lang="en-US" sz="100" dirty="0">
              <a:solidFill>
                <a:schemeClr val="tx1">
                  <a:lumMod val="50000"/>
                  <a:lumOff val="50000"/>
                </a:schemeClr>
              </a:solidFill>
              <a:latin typeface="Segoe UI Light" panose="020B0502040204020203" pitchFamily="34" charset="0"/>
              <a:cs typeface="Segoe UI Light" panose="020B0502040204020203" pitchFamily="34" charset="0"/>
            </a:endParaRPr>
          </a:p>
          <a:p>
            <a:pPr algn="just">
              <a:lnSpc>
                <a:spcPct val="100000"/>
              </a:lnSpc>
              <a:spcBef>
                <a:spcPts val="0"/>
              </a:spcBef>
            </a:pPr>
            <a:r>
              <a:rPr lang="en-US" dirty="0">
                <a:solidFill>
                  <a:schemeClr val="tx1">
                    <a:lumMod val="50000"/>
                    <a:lumOff val="50000"/>
                  </a:schemeClr>
                </a:solidFill>
                <a:latin typeface="Segoe UI Light" panose="020B0502040204020203" pitchFamily="34" charset="0"/>
                <a:cs typeface="Segoe UI Light" panose="020B0502040204020203" pitchFamily="34" charset="0"/>
              </a:rPr>
              <a:t>Accuracy: 89.3% | F1 score: 89.2%</a:t>
            </a:r>
            <a:endParaRPr lang="id-ID"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3003567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0-#ppt_w/2"/>
                                          </p:val>
                                        </p:tav>
                                        <p:tav tm="100000">
                                          <p:val>
                                            <p:strVal val="#ppt_x"/>
                                          </p:val>
                                        </p:tav>
                                      </p:tavLst>
                                    </p:anim>
                                    <p:anim calcmode="lin" valueType="num">
                                      <p:cBhvr additive="base">
                                        <p:cTn id="8" dur="10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Lst>
</file>

<file path=ppt/theme/theme1.xml><?xml version="1.0" encoding="utf-8"?>
<a:theme xmlns:a="http://schemas.openxmlformats.org/drawingml/2006/main" name="Office Theme">
  <a:themeElements>
    <a:clrScheme name="2017-Gray-SkyBlue">
      <a:dk1>
        <a:sysClr val="windowText" lastClr="000000"/>
      </a:dk1>
      <a:lt1>
        <a:sysClr val="window" lastClr="FFFFFF"/>
      </a:lt1>
      <a:dk2>
        <a:srgbClr val="2D3847"/>
      </a:dk2>
      <a:lt2>
        <a:srgbClr val="E7E6E6"/>
      </a:lt2>
      <a:accent1>
        <a:srgbClr val="00BAE6"/>
      </a:accent1>
      <a:accent2>
        <a:srgbClr val="D8D8D8"/>
      </a:accent2>
      <a:accent3>
        <a:srgbClr val="BFBFBF"/>
      </a:accent3>
      <a:accent4>
        <a:srgbClr val="A5A5A5"/>
      </a:accent4>
      <a:accent5>
        <a:srgbClr val="7F7F7F"/>
      </a:accent5>
      <a:accent6>
        <a:srgbClr val="59595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TotalTime>
  <Words>867</Words>
  <Application>Microsoft Office PowerPoint</Application>
  <PresentationFormat>Widescreen</PresentationFormat>
  <Paragraphs>147</Paragraphs>
  <Slides>15</Slides>
  <Notes>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5</vt:i4>
      </vt:variant>
    </vt:vector>
  </HeadingPairs>
  <TitlesOfParts>
    <vt:vector size="25" baseType="lpstr">
      <vt:lpstr>Aller</vt:lpstr>
      <vt:lpstr>Anton</vt:lpstr>
      <vt:lpstr>Gill Sans</vt:lpstr>
      <vt:lpstr>Arial</vt:lpstr>
      <vt:lpstr>Calibri</vt:lpstr>
      <vt:lpstr>Calibri Light</vt:lpstr>
      <vt:lpstr>Segoe UI</vt:lpstr>
      <vt:lpstr>Segoe UI Light</vt:lpstr>
      <vt:lpstr>Wingdings</vt:lpstr>
      <vt:lpstr>Office Theme</vt:lpstr>
      <vt:lpstr>PowerPoint Presentation</vt:lpstr>
      <vt:lpstr>Agenda</vt:lpstr>
      <vt:lpstr>Yel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a Matinho</dc:creator>
  <cp:lastModifiedBy>Yuling Gu</cp:lastModifiedBy>
  <cp:revision>41</cp:revision>
  <dcterms:created xsi:type="dcterms:W3CDTF">2019-12-05T20:48:07Z</dcterms:created>
  <dcterms:modified xsi:type="dcterms:W3CDTF">2020-09-22T04:16:10Z</dcterms:modified>
</cp:coreProperties>
</file>